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796" r:id="rId5"/>
    <p:sldMasterId id="2147483823" r:id="rId6"/>
    <p:sldMasterId id="2147483868" r:id="rId7"/>
    <p:sldMasterId id="2147483901" r:id="rId8"/>
  </p:sldMasterIdLst>
  <p:notesMasterIdLst>
    <p:notesMasterId r:id="rId24"/>
  </p:notesMasterIdLst>
  <p:handoutMasterIdLst>
    <p:handoutMasterId r:id="rId25"/>
  </p:handoutMasterIdLst>
  <p:sldIdLst>
    <p:sldId id="290" r:id="rId9"/>
    <p:sldId id="6552" r:id="rId10"/>
    <p:sldId id="6553" r:id="rId11"/>
    <p:sldId id="6554" r:id="rId12"/>
    <p:sldId id="6556" r:id="rId13"/>
    <p:sldId id="6563" r:id="rId14"/>
    <p:sldId id="6559" r:id="rId15"/>
    <p:sldId id="6565" r:id="rId16"/>
    <p:sldId id="6566" r:id="rId17"/>
    <p:sldId id="6562" r:id="rId18"/>
    <p:sldId id="480" r:id="rId19"/>
    <p:sldId id="387" r:id="rId20"/>
    <p:sldId id="1764" r:id="rId21"/>
    <p:sldId id="1038" r:id="rId22"/>
    <p:sldId id="37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000"/>
    <a:srgbClr val="00C7E6"/>
    <a:srgbClr val="1E1E96"/>
    <a:srgbClr val="003DE6"/>
    <a:srgbClr val="00C8E6"/>
    <a:srgbClr val="8229B5"/>
    <a:srgbClr val="8C006E"/>
    <a:srgbClr val="FF0000"/>
    <a:srgbClr val="1F1F96"/>
    <a:srgbClr val="DB14A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527" autoAdjust="0"/>
    <p:restoredTop sz="76248" autoAdjust="0"/>
  </p:normalViewPr>
  <p:slideViewPr>
    <p:cSldViewPr snapToGrid="0">
      <p:cViewPr varScale="1">
        <p:scale>
          <a:sx n="29" d="100"/>
          <a:sy n="29" d="100"/>
        </p:scale>
        <p:origin x="72" y="20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1269"/>
    </p:cViewPr>
  </p:sorterViewPr>
  <p:notesViewPr>
    <p:cSldViewPr snapToGrid="0">
      <p:cViewPr varScale="1">
        <p:scale>
          <a:sx n="49" d="100"/>
          <a:sy n="49" d="100"/>
        </p:scale>
        <p:origin x="2652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E2305-466C-4623-BA03-7D1ABB7C9E8B}" type="datetimeFigureOut">
              <a:rPr lang="en-GB" smtClean="0"/>
              <a:t>06/11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AB2DDB-3F36-4FB8-8004-74C0E9CD6F5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1304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94DEE1-CFED-4862-80A6-C1C29819A1DC}" type="datetimeFigureOut">
              <a:rPr lang="en-GB" smtClean="0"/>
              <a:t>06/1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745B09-AD31-409C-B2BB-E7C534396A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9038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10942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37125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2172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927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2331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4246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306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750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07603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836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788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68080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0034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gi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4.png"/><Relationship Id="rId4" Type="http://schemas.openxmlformats.org/officeDocument/2006/relationships/image" Target="../media/image11.jpeg"/><Relationship Id="rId9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gi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S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90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7422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1605678"/>
            <a:ext cx="4999202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092030" y="1605678"/>
            <a:ext cx="5178191" cy="553998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671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238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2668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7050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45720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2757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5815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7790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9707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0003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8448"/>
            <a:ext cx="11431590" cy="4956048"/>
          </a:xfrm>
        </p:spPr>
        <p:txBody>
          <a:bodyPr/>
          <a:lstStyle>
            <a:lvl1pPr>
              <a:lnSpc>
                <a:spcPct val="90000"/>
              </a:lnSpc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8165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7623048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9391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8216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5023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 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One-line tit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257741"/>
            <a:ext cx="1978025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98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913839" y="1605678"/>
            <a:ext cx="4999202" cy="553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092030" y="1605678"/>
            <a:ext cx="5178191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8216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952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60078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6734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60078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4937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74114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902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74114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626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298448"/>
            <a:ext cx="10362732" cy="4956048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30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384048"/>
            <a:ext cx="10361146" cy="5864352"/>
          </a:xfrm>
        </p:spPr>
        <p:txBody>
          <a:bodyPr rIns="0"/>
          <a:lstStyle>
            <a:lvl1pPr marL="0" indent="0">
              <a:lnSpc>
                <a:spcPct val="90000"/>
              </a:lnSpc>
              <a:buFontTx/>
              <a:buNone/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9814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1653920"/>
            <a:ext cx="10367370" cy="4591432"/>
          </a:xfrm>
        </p:spPr>
        <p:txBody>
          <a:bodyPr r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0982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mmunication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37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0"/>
            <a:ext cx="32603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653920"/>
            <a:ext cx="70870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0450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4"/>
            <a:ext cx="3260333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4"/>
            <a:ext cx="3261600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4"/>
            <a:ext cx="3278622" cy="4591427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95824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7087161" cy="4591054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1653925"/>
            <a:ext cx="3255697" cy="45913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529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909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505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" name="Freeform 5"/>
          <p:cNvSpPr/>
          <p:nvPr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8" name="Freeform 7"/>
          <p:cNvSpPr/>
          <p:nvPr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0" name="Freeform 9"/>
          <p:cNvSpPr/>
          <p:nvPr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1" name="Freeform 10"/>
          <p:cNvSpPr/>
          <p:nvPr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3" name="Freeform 12"/>
          <p:cNvSpPr/>
          <p:nvPr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4" name="Freeform 13"/>
          <p:cNvSpPr/>
          <p:nvPr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/>
              <a:t>s</a:t>
            </a:r>
            <a:endParaRPr lang="en-US" sz="2000" dirty="0"/>
          </a:p>
        </p:txBody>
      </p:sp>
      <p:sp>
        <p:nvSpPr>
          <p:cNvPr id="17" name="Freeform 16"/>
          <p:cNvSpPr/>
          <p:nvPr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8" name="Freeform 17"/>
          <p:cNvSpPr/>
          <p:nvPr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9" name="Freeform 18"/>
          <p:cNvSpPr/>
          <p:nvPr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0" name="Freeform 19"/>
          <p:cNvSpPr/>
          <p:nvPr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1" name="Freeform 20"/>
          <p:cNvSpPr/>
          <p:nvPr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6" name="Freeform 25"/>
          <p:cNvSpPr/>
          <p:nvPr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7" name="Freeform 26"/>
          <p:cNvSpPr/>
          <p:nvPr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0" name="Freeform 29"/>
          <p:cNvSpPr/>
          <p:nvPr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1" name="Freeform 30"/>
          <p:cNvSpPr/>
          <p:nvPr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2" name="Freeform 31"/>
          <p:cNvSpPr/>
          <p:nvPr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3" name="Freeform 32"/>
          <p:cNvSpPr/>
          <p:nvPr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4" name="Freeform 33"/>
          <p:cNvSpPr/>
          <p:nvPr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34"/>
          <p:cNvSpPr/>
          <p:nvPr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6" name="Freeform 35"/>
          <p:cNvSpPr/>
          <p:nvPr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7" name="Freeform 36"/>
          <p:cNvSpPr/>
          <p:nvPr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8" name="Freeform 37"/>
          <p:cNvSpPr/>
          <p:nvPr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69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/>
                <a:t>s</a:t>
              </a:r>
              <a:endParaRPr lang="en-US" sz="2000" dirty="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49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0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3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10361144" cy="4594476"/>
          </a:xfrm>
        </p:spPr>
        <p:txBody>
          <a:bodyPr lIns="0"/>
          <a:lstStyle>
            <a:lvl1pPr marL="722096" marR="0" indent="-722096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99"/>
              </a:spcAft>
              <a:buClrTx/>
              <a:buSzPct val="100000"/>
              <a:buFontTx/>
              <a:buBlip>
                <a:blip r:embed="rId2"/>
              </a:buBlip>
              <a:tabLst/>
              <a:defRPr sz="3599"/>
            </a:lvl1pPr>
            <a:lvl2pPr marL="987129" marR="0" indent="-265033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9"/>
            </a:lvl2pPr>
            <a:lvl3pPr marL="1252162" marR="0" indent="-279316" algn="l" defTabSz="9141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9"/>
            </a:lvl3pPr>
            <a:lvl4pPr marL="1614004" marR="0" indent="-279316" algn="l" defTabSz="9141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9"/>
            </a:lvl4pPr>
            <a:lvl5pPr marL="714161" marR="0" indent="-174573" algn="l" defTabSz="9141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9"/>
            </a:lvl5pPr>
          </a:lstStyle>
          <a:p>
            <a:pPr marL="722096" marR="0" lvl="0" indent="-722096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99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129" marR="0" lvl="1" indent="-265033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162" marR="0" lvl="2" indent="-279316" algn="l" defTabSz="9141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004" marR="0" lvl="3" indent="-279316" algn="l" defTabSz="9141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595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mmunication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101" y="0"/>
            <a:ext cx="10275777" cy="68505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6096000" y="0"/>
            <a:ext cx="6096001" cy="6858000"/>
            <a:chOff x="6138041" y="1125134"/>
            <a:chExt cx="4470277" cy="5323073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57852" y="1125938"/>
              <a:ext cx="4450466" cy="5322269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138041" y="2894220"/>
              <a:ext cx="4462659" cy="354818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585343" y="1125134"/>
              <a:ext cx="2011854" cy="1774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866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078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574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3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10361144" cy="4594476"/>
          </a:xfrm>
        </p:spPr>
        <p:txBody>
          <a:bodyPr l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36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6169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653925"/>
            <a:ext cx="1036114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4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9337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3090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9525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7422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2842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7422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1605678"/>
            <a:ext cx="4999202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092030" y="1605678"/>
            <a:ext cx="5178191" cy="553998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704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8216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6026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913839" y="1605678"/>
            <a:ext cx="4999202" cy="553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092030" y="1605678"/>
            <a:ext cx="5178191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8216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8838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60078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5273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60078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4229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E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663"/>
            <a:ext cx="12212922" cy="6863662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1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74114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3664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74114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9601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298448"/>
            <a:ext cx="10362732" cy="4956048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5152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384048"/>
            <a:ext cx="10361146" cy="5864352"/>
          </a:xfrm>
        </p:spPr>
        <p:txBody>
          <a:bodyPr rIns="0"/>
          <a:lstStyle>
            <a:lvl1pPr marL="0" indent="0">
              <a:lnSpc>
                <a:spcPct val="90000"/>
              </a:lnSpc>
              <a:buFontTx/>
              <a:buNone/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7154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1653920"/>
            <a:ext cx="10367370" cy="4591432"/>
          </a:xfrm>
        </p:spPr>
        <p:txBody>
          <a:bodyPr r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6310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0"/>
            <a:ext cx="32603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653920"/>
            <a:ext cx="70870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3546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4"/>
            <a:ext cx="3260333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4"/>
            <a:ext cx="3261600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4"/>
            <a:ext cx="3278622" cy="4591427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285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7087161" cy="4591054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1653925"/>
            <a:ext cx="3255697" cy="45913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8377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9419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434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3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10361144" cy="4594476"/>
          </a:xfrm>
        </p:spPr>
        <p:txBody>
          <a:bodyPr l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36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242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" name="Freeform 5"/>
          <p:cNvSpPr/>
          <p:nvPr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8" name="Freeform 7"/>
          <p:cNvSpPr/>
          <p:nvPr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0" name="Freeform 9"/>
          <p:cNvSpPr/>
          <p:nvPr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1" name="Freeform 10"/>
          <p:cNvSpPr/>
          <p:nvPr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3" name="Freeform 12"/>
          <p:cNvSpPr/>
          <p:nvPr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4" name="Freeform 13"/>
          <p:cNvSpPr/>
          <p:nvPr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/>
              <a:t>s</a:t>
            </a:r>
            <a:endParaRPr lang="en-US" sz="2000" dirty="0"/>
          </a:p>
        </p:txBody>
      </p:sp>
      <p:sp>
        <p:nvSpPr>
          <p:cNvPr id="17" name="Freeform 16"/>
          <p:cNvSpPr/>
          <p:nvPr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8" name="Freeform 17"/>
          <p:cNvSpPr/>
          <p:nvPr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9" name="Freeform 18"/>
          <p:cNvSpPr/>
          <p:nvPr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0" name="Freeform 19"/>
          <p:cNvSpPr/>
          <p:nvPr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1" name="Freeform 20"/>
          <p:cNvSpPr/>
          <p:nvPr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6" name="Freeform 25"/>
          <p:cNvSpPr/>
          <p:nvPr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7" name="Freeform 26"/>
          <p:cNvSpPr/>
          <p:nvPr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0" name="Freeform 29"/>
          <p:cNvSpPr/>
          <p:nvPr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1" name="Freeform 30"/>
          <p:cNvSpPr/>
          <p:nvPr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2" name="Freeform 31"/>
          <p:cNvSpPr/>
          <p:nvPr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3" name="Freeform 32"/>
          <p:cNvSpPr/>
          <p:nvPr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4" name="Freeform 33"/>
          <p:cNvSpPr/>
          <p:nvPr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34"/>
          <p:cNvSpPr/>
          <p:nvPr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6" name="Freeform 35"/>
          <p:cNvSpPr/>
          <p:nvPr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7" name="Freeform 36"/>
          <p:cNvSpPr/>
          <p:nvPr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8" name="Freeform 37"/>
          <p:cNvSpPr/>
          <p:nvPr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46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/>
                <a:t>s</a:t>
              </a:r>
              <a:endParaRPr lang="en-US" sz="2000" dirty="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803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721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bg>
      <p:bgPr>
        <a:pattFill prst="pct5">
          <a:fgClr>
            <a:srgbClr val="FFFFFF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6"/>
          <p:cNvSpPr>
            <a:spLocks noChangeArrowheads="1"/>
          </p:cNvSpPr>
          <p:nvPr/>
        </p:nvSpPr>
        <p:spPr bwMode="auto">
          <a:xfrm>
            <a:off x="1" y="0"/>
            <a:ext cx="12192000" cy="17462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>
              <a:latin typeface="Arial Narrow" charset="0"/>
            </a:endParaRPr>
          </a:p>
        </p:txBody>
      </p:sp>
      <p:pic>
        <p:nvPicPr>
          <p:cNvPr id="7" name="Picture 6" descr="cover7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774700"/>
            <a:ext cx="12192000" cy="5297832"/>
          </a:xfrm>
          <a:prstGeom prst="rect">
            <a:avLst/>
          </a:prstGeom>
        </p:spPr>
      </p:pic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220720" y="6502400"/>
            <a:ext cx="406506" cy="2365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419" y="365126"/>
            <a:ext cx="10515163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723675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4"/>
            <a:ext cx="10682077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000"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608423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77558" y="914400"/>
            <a:ext cx="10402963" cy="27632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4"/>
            <a:ext cx="784016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3051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75300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3"/>
            <a:ext cx="6925527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7518" y="1478659"/>
            <a:ext cx="3201234" cy="40780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28389422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3"/>
            <a:ext cx="6925527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7518" y="1478659"/>
            <a:ext cx="3201234" cy="40780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077558" y="914400"/>
            <a:ext cx="10402963" cy="27632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424343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5"/>
            <a:ext cx="4867591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6612801" y="1472945"/>
            <a:ext cx="4867591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746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653925"/>
            <a:ext cx="1036114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4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0710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5"/>
            <a:ext cx="4867591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2"/>
          <p:cNvSpPr>
            <a:spLocks noGrp="1"/>
          </p:cNvSpPr>
          <p:nvPr>
            <p:ph sz="quarter" idx="11"/>
          </p:nvPr>
        </p:nvSpPr>
        <p:spPr>
          <a:xfrm>
            <a:off x="6612801" y="1472945"/>
            <a:ext cx="4867591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077558" y="914400"/>
            <a:ext cx="10402963" cy="27632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71774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077558" y="914400"/>
            <a:ext cx="10402963" cy="27632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4"/>
            <a:ext cx="3084046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2"/>
          <p:cNvSpPr>
            <a:spLocks noGrp="1"/>
          </p:cNvSpPr>
          <p:nvPr>
            <p:ph sz="quarter" idx="11"/>
          </p:nvPr>
        </p:nvSpPr>
        <p:spPr>
          <a:xfrm>
            <a:off x="4728387" y="1472944"/>
            <a:ext cx="3084046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2"/>
          <p:cNvSpPr>
            <a:spLocks noGrp="1"/>
          </p:cNvSpPr>
          <p:nvPr>
            <p:ph sz="quarter" idx="12"/>
          </p:nvPr>
        </p:nvSpPr>
        <p:spPr>
          <a:xfrm>
            <a:off x="8387685" y="1472944"/>
            <a:ext cx="3084046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116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4"/>
            <a:ext cx="3084046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728387" y="1472944"/>
            <a:ext cx="3084046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2"/>
          <p:cNvSpPr>
            <a:spLocks noGrp="1"/>
          </p:cNvSpPr>
          <p:nvPr>
            <p:ph sz="quarter" idx="12"/>
          </p:nvPr>
        </p:nvSpPr>
        <p:spPr>
          <a:xfrm>
            <a:off x="8387685" y="1472944"/>
            <a:ext cx="3084046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79365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77558" y="914400"/>
            <a:ext cx="10402963" cy="27632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1088900" y="147859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2"/>
          <p:cNvSpPr>
            <a:spLocks noGrp="1"/>
          </p:cNvSpPr>
          <p:nvPr>
            <p:ph sz="quarter" idx="12"/>
          </p:nvPr>
        </p:nvSpPr>
        <p:spPr>
          <a:xfrm>
            <a:off x="6622461" y="147859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2"/>
          <p:cNvSpPr>
            <a:spLocks noGrp="1"/>
          </p:cNvSpPr>
          <p:nvPr>
            <p:ph sz="quarter" idx="13"/>
          </p:nvPr>
        </p:nvSpPr>
        <p:spPr>
          <a:xfrm>
            <a:off x="1088900" y="381031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2"/>
          <p:cNvSpPr>
            <a:spLocks noGrp="1"/>
          </p:cNvSpPr>
          <p:nvPr>
            <p:ph sz="quarter" idx="14"/>
          </p:nvPr>
        </p:nvSpPr>
        <p:spPr>
          <a:xfrm>
            <a:off x="6622461" y="381031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17935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2"/>
          <p:cNvSpPr>
            <a:spLocks noGrp="1"/>
          </p:cNvSpPr>
          <p:nvPr>
            <p:ph sz="quarter" idx="10"/>
          </p:nvPr>
        </p:nvSpPr>
        <p:spPr>
          <a:xfrm>
            <a:off x="1088900" y="147859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2"/>
          <p:cNvSpPr>
            <a:spLocks noGrp="1"/>
          </p:cNvSpPr>
          <p:nvPr>
            <p:ph sz="quarter" idx="12"/>
          </p:nvPr>
        </p:nvSpPr>
        <p:spPr>
          <a:xfrm>
            <a:off x="6622461" y="147859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2"/>
          <p:cNvSpPr>
            <a:spLocks noGrp="1"/>
          </p:cNvSpPr>
          <p:nvPr>
            <p:ph sz="quarter" idx="13"/>
          </p:nvPr>
        </p:nvSpPr>
        <p:spPr>
          <a:xfrm>
            <a:off x="1088900" y="381031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2"/>
          <p:cNvSpPr>
            <a:spLocks noGrp="1"/>
          </p:cNvSpPr>
          <p:nvPr>
            <p:ph sz="quarter" idx="14"/>
          </p:nvPr>
        </p:nvSpPr>
        <p:spPr>
          <a:xfrm>
            <a:off x="6622461" y="3810318"/>
            <a:ext cx="4856248" cy="225730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42775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6"/>
          <p:cNvSpPr>
            <a:spLocks noChangeArrowheads="1"/>
          </p:cNvSpPr>
          <p:nvPr userDrawn="1"/>
        </p:nvSpPr>
        <p:spPr bwMode="auto">
          <a:xfrm>
            <a:off x="1" y="0"/>
            <a:ext cx="12192000" cy="12834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>
              <a:latin typeface="Arial Narrow" charset="0"/>
            </a:endParaRPr>
          </a:p>
        </p:txBody>
      </p:sp>
      <p:pic>
        <p:nvPicPr>
          <p:cNvPr id="2" name="Picture 1" descr="PSD131542_Montage_7-1_al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818" y="2287128"/>
            <a:ext cx="4116768" cy="291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21390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4550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9133" y="995309"/>
            <a:ext cx="5746165" cy="435571"/>
          </a:xfrm>
          <a:prstGeom prst="rect">
            <a:avLst/>
          </a:prstGeom>
        </p:spPr>
        <p:txBody>
          <a:bodyPr lIns="51419" tIns="25710" rIns="51419" bIns="25710"/>
          <a:lstStyle>
            <a:lvl1pPr marL="0" indent="0">
              <a:buNone/>
              <a:defRPr sz="2160">
                <a:solidFill>
                  <a:srgbClr val="474577"/>
                </a:solidFill>
                <a:latin typeface="Arial"/>
                <a:cs typeface="Arial"/>
              </a:defRPr>
            </a:lvl1pPr>
          </a:lstStyle>
          <a:p>
            <a:fld id="{844449A1-028A-A94D-BA62-D45777797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Bildobjekt 1" descr="signature_1368872">
            <a:extLst>
              <a:ext uri="{FF2B5EF4-FFF2-40B4-BE49-F238E27FC236}">
                <a16:creationId xmlns:a16="http://schemas.microsoft.com/office/drawing/2014/main" id="{FA58DD8C-8A43-49CD-B573-4A8F2988D03C}"/>
              </a:ext>
            </a:extLst>
          </p:cNvPr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9170" y="6459176"/>
            <a:ext cx="1516835" cy="3133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876862"/>
      </p:ext>
    </p:extLst>
  </p:cSld>
  <p:clrMapOvr>
    <a:masterClrMapping/>
  </p:clrMapOvr>
  <p:transition spd="slow" advClick="0">
    <p:split orient="vert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Communication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2191999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2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198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799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6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3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F041D20B-C571-7445-9574-6B5AEC93352F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999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4" y="2321901"/>
            <a:ext cx="9521825" cy="1994392"/>
          </a:xfrm>
        </p:spPr>
        <p:txBody>
          <a:bodyPr>
            <a:noAutofit/>
          </a:bodyPr>
          <a:lstStyle>
            <a:lvl1pPr algn="l">
              <a:defRPr sz="7198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027942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11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238" y="-19051"/>
            <a:ext cx="12196239" cy="6887683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2888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8" y="-4508"/>
            <a:ext cx="12196239" cy="6858597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0431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8" y="-4508"/>
            <a:ext cx="12196239" cy="6858597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393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8" y="-4508"/>
            <a:ext cx="12196239" cy="6858597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2140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8" y="-4508"/>
            <a:ext cx="12196239" cy="6858597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3335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8" y="-4508"/>
            <a:ext cx="12196239" cy="6858597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6807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8" y="-4508"/>
            <a:ext cx="12196239" cy="6858597"/>
          </a:xfrm>
          <a:prstGeom prst="rect">
            <a:avLst/>
          </a:prstGeom>
        </p:spPr>
      </p:pic>
      <p:sp>
        <p:nvSpPr>
          <p:cNvPr id="45" name="Freeform 37"/>
          <p:cNvSpPr>
            <a:spLocks/>
          </p:cNvSpPr>
          <p:nvPr userDrawn="1"/>
        </p:nvSpPr>
        <p:spPr bwMode="auto">
          <a:xfrm rot="19218002" flipH="1" flipV="1">
            <a:off x="727088" y="-1861782"/>
            <a:ext cx="10864829" cy="6197208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90 w 10000"/>
              <a:gd name="connsiteY0" fmla="*/ 0 h 10041"/>
              <a:gd name="connsiteX1" fmla="*/ 10000 w 10000"/>
              <a:gd name="connsiteY1" fmla="*/ 10041 h 10041"/>
              <a:gd name="connsiteX2" fmla="*/ 0 w 10000"/>
              <a:gd name="connsiteY2" fmla="*/ 304 h 10041"/>
              <a:gd name="connsiteX3" fmla="*/ 9690 w 10000"/>
              <a:gd name="connsiteY3" fmla="*/ 0 h 1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41">
                <a:moveTo>
                  <a:pt x="9690" y="0"/>
                </a:moveTo>
                <a:cubicBezTo>
                  <a:pt x="9688" y="-3"/>
                  <a:pt x="10000" y="10041"/>
                  <a:pt x="10000" y="10041"/>
                </a:cubicBezTo>
                <a:cubicBezTo>
                  <a:pt x="9999" y="10039"/>
                  <a:pt x="0" y="304"/>
                  <a:pt x="0" y="304"/>
                </a:cubicBezTo>
                <a:lnTo>
                  <a:pt x="969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799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99" y="371061"/>
            <a:ext cx="2365568" cy="42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484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3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375806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4052440" y="2989175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-3084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111696" y="1778990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341758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-226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r>
              <a:rPr lang="en-US" sz="1999" dirty="0">
                <a:solidFill>
                  <a:srgbClr val="FFFFFF"/>
                </a:solidFill>
              </a:rPr>
              <a:t>s</a:t>
            </a:r>
          </a:p>
        </p:txBody>
      </p:sp>
      <p:sp>
        <p:nvSpPr>
          <p:cNvPr id="17" name="Freeform 16"/>
          <p:cNvSpPr/>
          <p:nvPr/>
        </p:nvSpPr>
        <p:spPr>
          <a:xfrm>
            <a:off x="7667626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1015665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0959907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6366970" y="2428877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025775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102444" y="4914461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17876" y="5936219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0990537" y="3785437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1488255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8" name="Freeform 27"/>
          <p:cNvSpPr/>
          <p:nvPr/>
        </p:nvSpPr>
        <p:spPr>
          <a:xfrm>
            <a:off x="8745795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-2380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-3294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8694845" y="2426112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9669016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317359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8690615" y="3783807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7660348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4067337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3541852" y="3007897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3" tIns="179953" rIns="179953" bIns="179953" rtlCol="0" anchor="t"/>
          <a:lstStyle/>
          <a:p>
            <a:pPr algn="ctr"/>
            <a:endParaRPr lang="en-US" sz="1999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4" y="1333502"/>
            <a:ext cx="9521825" cy="4127499"/>
          </a:xfrm>
        </p:spPr>
        <p:txBody>
          <a:bodyPr rIns="0" anchor="t"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833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6" y="379413"/>
            <a:ext cx="11425237" cy="46761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876864" y="6632613"/>
            <a:ext cx="2186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29B7B62B-0732-4BEA-A6C8-5CF96588F2B9}" type="slidenum">
              <a:rPr lang="en-US" sz="1200" smtClean="0">
                <a:solidFill>
                  <a:prstClr val="black"/>
                </a:solidFill>
                <a:latin typeface="3M Circular TT Book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200" dirty="0">
              <a:solidFill>
                <a:prstClr val="black"/>
              </a:solidFill>
              <a:latin typeface="3M Circular TT Book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836610" y="5856269"/>
            <a:ext cx="10515600" cy="440267"/>
          </a:xfrm>
          <a:solidFill>
            <a:schemeClr val="accent1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06" tIns="179906" rIns="179906" bIns="179906" rtlCol="0" anchor="ctr"/>
          <a:lstStyle>
            <a:lvl1pPr>
              <a:defRPr lang="en-US" dirty="0">
                <a:solidFill>
                  <a:prstClr val="white"/>
                </a:solidFill>
                <a:ea typeface="+mn-ea"/>
                <a:cs typeface="+mn-cs"/>
              </a:defRPr>
            </a:lvl1pPr>
          </a:lstStyle>
          <a:p>
            <a:pPr lvl="0" algn="ctr" fontAlgn="auto">
              <a:spcAft>
                <a:spcPts val="0"/>
              </a:spcAft>
            </a:pP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 userDrawn="1">
            <p:ph type="body" sz="quarter" idx="17"/>
          </p:nvPr>
        </p:nvSpPr>
        <p:spPr>
          <a:xfrm>
            <a:off x="379416" y="992188"/>
            <a:ext cx="11425237" cy="4773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5913041" y="6547611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798" dirty="0">
              <a:solidFill>
                <a:prstClr val="black"/>
              </a:solidFill>
              <a:latin typeface="3M Circular T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1614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8796" y="1295401"/>
            <a:ext cx="1143000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9724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3954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2" y="841248"/>
            <a:ext cx="11430000" cy="365760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5064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9728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4" y="381000"/>
            <a:ext cx="11425237" cy="45720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2" y="841248"/>
            <a:ext cx="11430000" cy="365760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9776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79414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86557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2" y="841248"/>
            <a:ext cx="11430000" cy="365760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69770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81003"/>
            <a:ext cx="11425237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4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2771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80999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841248"/>
            <a:ext cx="11430000" cy="365760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4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83933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8448"/>
            <a:ext cx="11431590" cy="4956048"/>
          </a:xfrm>
        </p:spPr>
        <p:txBody>
          <a:bodyPr/>
          <a:lstStyle>
            <a:lvl1pPr>
              <a:lnSpc>
                <a:spcPct val="90000"/>
              </a:lnSpc>
              <a:defRPr sz="4798">
                <a:latin typeface="+mj-lt"/>
              </a:defRPr>
            </a:lvl1pPr>
            <a:lvl2pPr>
              <a:defRPr sz="4398">
                <a:latin typeface="+mj-lt"/>
              </a:defRPr>
            </a:lvl2pPr>
            <a:lvl3pPr>
              <a:defRPr sz="3998">
                <a:latin typeface="+mj-lt"/>
              </a:defRPr>
            </a:lvl3pPr>
            <a:lvl4pPr>
              <a:defRPr sz="3598">
                <a:latin typeface="+mj-lt"/>
              </a:defRPr>
            </a:lvl4pPr>
            <a:lvl5pPr>
              <a:defRPr sz="3198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41828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2" y="384048"/>
            <a:ext cx="11430000" cy="5864352"/>
          </a:xfrm>
        </p:spPr>
        <p:txBody>
          <a:bodyPr rIns="0"/>
          <a:lstStyle>
            <a:lvl1pPr>
              <a:lnSpc>
                <a:spcPct val="90000"/>
              </a:lnSpc>
              <a:defRPr sz="3198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198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59137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384048"/>
            <a:ext cx="11426952" cy="5861304"/>
          </a:xfrm>
        </p:spPr>
        <p:txBody>
          <a:bodyPr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4353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7422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213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7623048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66285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998"/>
            </a:lvl1pPr>
            <a:lvl2pPr marL="182453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2pPr>
            <a:lvl3pPr marL="356974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3pPr>
            <a:lvl4pPr marL="539426" marR="0" indent="-182453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4pPr>
            <a:lvl5pPr marL="713947" marR="0" indent="-174521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998"/>
            </a:lvl5pPr>
          </a:lstStyle>
          <a:p>
            <a:pPr marL="0" marR="0" lvl="0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385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187954" y="384048"/>
            <a:ext cx="3803904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384048"/>
            <a:ext cx="3794760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687945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384048" y="383675"/>
            <a:ext cx="7616952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381004"/>
            <a:ext cx="3794760" cy="5864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479058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96435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5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19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18735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5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818442" y="6596411"/>
            <a:ext cx="1064702" cy="184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912813" eaLnBrk="0" hangingPunct="0"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12813" eaLnBrk="0" hangingPunct="0"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12813" eaLnBrk="0" hangingPunct="0"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12813" eaLnBrk="0" hangingPunct="0"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12813" eaLnBrk="0" hangingPunct="0"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798513" algn="r"/>
              </a:tabLs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22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798034" algn="r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. All Rights Reserved.</a:t>
            </a:r>
          </a:p>
        </p:txBody>
      </p:sp>
      <p:sp>
        <p:nvSpPr>
          <p:cNvPr id="16" name="TextBox 25"/>
          <p:cNvSpPr txBox="1">
            <a:spLocks noChangeArrowheads="1"/>
          </p:cNvSpPr>
          <p:nvPr userDrawn="1"/>
        </p:nvSpPr>
        <p:spPr bwMode="auto">
          <a:xfrm>
            <a:off x="89809" y="6596401"/>
            <a:ext cx="82403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22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5980DF0-75D0-FD4C-983E-614B6986212F}" type="datetime3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pPr marL="0" marR="0" lvl="0" indent="0" algn="r" defTabSz="9122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 November 2020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 panose="020B0604020101020102" pitchFamily="34" charset="0"/>
              <a:ea typeface="ＭＳ Ｐゴシック" charset="0"/>
              <a:cs typeface="3M Circular TT Book" panose="020B0604020101020102" pitchFamily="34" charset="0"/>
            </a:endParaRPr>
          </a:p>
        </p:txBody>
      </p:sp>
      <p:sp>
        <p:nvSpPr>
          <p:cNvPr id="17" name="Rectangle 26"/>
          <p:cNvSpPr>
            <a:spLocks noChangeArrowheads="1"/>
          </p:cNvSpPr>
          <p:nvPr userDrawn="1"/>
        </p:nvSpPr>
        <p:spPr bwMode="auto">
          <a:xfrm>
            <a:off x="89807" y="6611236"/>
            <a:ext cx="593403" cy="108276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22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ＭＳ Ｐゴシック" charset="0"/>
              <a:cs typeface="3M Circular TT Book" panose="020B0604020101020102" pitchFamily="34" charset="0"/>
            </a:endParaRPr>
          </a:p>
        </p:txBody>
      </p:sp>
      <p:sp>
        <p:nvSpPr>
          <p:cNvPr id="18" name="TextBox 24"/>
          <p:cNvSpPr txBox="1">
            <a:spLocks noChangeArrowheads="1"/>
          </p:cNvSpPr>
          <p:nvPr userDrawn="1"/>
        </p:nvSpPr>
        <p:spPr bwMode="auto">
          <a:xfrm>
            <a:off x="378796" y="6596406"/>
            <a:ext cx="35351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defTabSz="91385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© 3M</a:t>
            </a:r>
          </a:p>
        </p:txBody>
      </p:sp>
      <p:sp>
        <p:nvSpPr>
          <p:cNvPr id="19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9413" y="5918019"/>
            <a:ext cx="11430000" cy="457200"/>
          </a:xfrm>
          <a:prstGeom prst="roundRect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>
            <a:lvl1pPr marL="1588" indent="0" algn="ctr">
              <a:buNone/>
              <a:defRPr lang="en-US" sz="1798" i="1" kern="0" dirty="0" smtClean="0">
                <a:solidFill>
                  <a:srgbClr val="000000"/>
                </a:solidFill>
                <a:latin typeface="+mn-lt"/>
                <a:ea typeface="Arial" charset="0"/>
                <a:cs typeface="Arial"/>
              </a:defRPr>
            </a:lvl1pPr>
          </a:lstStyle>
          <a:p>
            <a:pPr marL="236396" lvl="0" indent="-234810" algn="ctr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85000"/>
              <a:buFontTx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79413" y="1298448"/>
            <a:ext cx="11430000" cy="4572000"/>
          </a:xfrm>
        </p:spPr>
        <p:txBody>
          <a:bodyPr/>
          <a:lstStyle>
            <a:lvl1pPr marL="342694" indent="-342694">
              <a:buClr>
                <a:schemeClr val="accent2"/>
              </a:buClr>
              <a:buFont typeface="Wingdings" panose="05000000000000000000" pitchFamily="2" charset="2"/>
              <a:buChar char="§"/>
              <a:defRPr sz="2398"/>
            </a:lvl1pPr>
            <a:lvl2pPr marL="567985" indent="-342694">
              <a:buClr>
                <a:schemeClr val="accent2"/>
              </a:buClr>
              <a:buFont typeface="3M Circular TT Book" panose="020B0604020101020102" pitchFamily="34" charset="0"/>
              <a:buChar char="-"/>
              <a:defRPr sz="2398"/>
            </a:lvl2pPr>
            <a:lvl3pPr marL="798034" indent="-342694">
              <a:buClr>
                <a:schemeClr val="accent2"/>
              </a:buClr>
              <a:buFont typeface="Wingdings" panose="05000000000000000000" pitchFamily="2" charset="2"/>
              <a:buChar char="§"/>
              <a:defRPr sz="1798" i="1"/>
            </a:lvl3pPr>
            <a:lvl4pPr marL="1029670" indent="-342694">
              <a:buClr>
                <a:schemeClr val="accent2"/>
              </a:buClr>
              <a:buFont typeface="3M Circular TT Book" panose="020B0604020101020102" pitchFamily="34" charset="0"/>
              <a:buChar char="-"/>
              <a:defRPr sz="1600" i="0"/>
            </a:lvl4pPr>
            <a:lvl5pPr marL="1259719" indent="-342694">
              <a:buClr>
                <a:schemeClr val="accent2"/>
              </a:buClr>
              <a:buFont typeface="Wingdings" panose="05000000000000000000" pitchFamily="2" charset="2"/>
              <a:buChar char="§"/>
              <a:defRPr sz="1400"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6925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78795" y="5918200"/>
            <a:ext cx="11425854" cy="439738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80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78794" y="6416476"/>
            <a:ext cx="5454650" cy="13652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379410" y="6600411"/>
            <a:ext cx="2602988" cy="141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© 3M 2017. All Rights Reserved.  </a:t>
            </a: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8721325" y="6600411"/>
            <a:ext cx="2602988" cy="141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3M Business Development</a:t>
            </a:r>
            <a:endParaRPr lang="en-US" sz="800" dirty="0">
              <a:solidFill>
                <a:prstClr val="black"/>
              </a:solidFill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4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78794" y="6416476"/>
            <a:ext cx="5454650" cy="13652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8721325" y="6600411"/>
            <a:ext cx="2602988" cy="141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3M Business Development</a:t>
            </a:r>
            <a:endParaRPr lang="en-US" sz="800" dirty="0">
              <a:solidFill>
                <a:prstClr val="black"/>
              </a:solidFill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 bwMode="auto">
          <a:xfrm>
            <a:off x="379410" y="6600411"/>
            <a:ext cx="2602988" cy="141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© 3M 2016. All Rights Reserved.  </a:t>
            </a: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6177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78795" y="5918200"/>
            <a:ext cx="11425854" cy="439738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80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78794" y="6416476"/>
            <a:ext cx="5454650" cy="13652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 bwMode="auto">
          <a:xfrm>
            <a:off x="8721325" y="6600411"/>
            <a:ext cx="2602988" cy="141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3M Business Development</a:t>
            </a:r>
            <a:endParaRPr lang="en-US" sz="800" dirty="0">
              <a:solidFill>
                <a:prstClr val="black"/>
              </a:solidFill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379410" y="6600411"/>
            <a:ext cx="2602988" cy="141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© 3M 2017. All Rights Reserved.  </a:t>
            </a: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4667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9C3524-BC8A-4EA1-9A21-69450094B17E}" type="datetimeFigureOut">
              <a:rPr lang="sv-SE" smtClean="0"/>
              <a:t>2020-11-0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D3C96-EB37-48E4-9EB4-CFDDC37839A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5815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gi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oleObject" Target="../embeddings/oleObject6.bin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ags" Target="../tags/tag6.xml"/><Relationship Id="rId30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84923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839" y="1653924"/>
            <a:ext cx="10356382" cy="4594475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67" r:id="rId3"/>
    <p:sldLayoutId id="2147483781" r:id="rId4"/>
    <p:sldLayoutId id="2147483664" r:id="rId5"/>
    <p:sldLayoutId id="2147483750" r:id="rId6"/>
    <p:sldLayoutId id="2147483666" r:id="rId7"/>
    <p:sldLayoutId id="2147483749" r:id="rId8"/>
    <p:sldLayoutId id="2147483727" r:id="rId9"/>
    <p:sldLayoutId id="2147483775" r:id="rId10"/>
    <p:sldLayoutId id="2147483751" r:id="rId11"/>
    <p:sldLayoutId id="2147483776" r:id="rId12"/>
    <p:sldLayoutId id="2147483671" r:id="rId13"/>
    <p:sldLayoutId id="2147483777" r:id="rId14"/>
    <p:sldLayoutId id="2147483752" r:id="rId15"/>
    <p:sldLayoutId id="2147483778" r:id="rId16"/>
    <p:sldLayoutId id="2147483728" r:id="rId17"/>
    <p:sldLayoutId id="2147483673" r:id="rId18"/>
    <p:sldLayoutId id="2147483672" r:id="rId19"/>
    <p:sldLayoutId id="2147483674" r:id="rId20"/>
    <p:sldLayoutId id="2147483676" r:id="rId21"/>
    <p:sldLayoutId id="2147483729" r:id="rId22"/>
    <p:sldLayoutId id="2147483675" r:id="rId23"/>
    <p:sldLayoutId id="2147483667" r:id="rId24"/>
    <p:sldLayoutId id="2147483663" r:id="rId25"/>
    <p:sldLayoutId id="2147483753" r:id="rId26"/>
    <p:sldLayoutId id="2147483709" r:id="rId27"/>
    <p:sldLayoutId id="2147483792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22313" indent="-722313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SzPct val="100000"/>
        <a:buFontTx/>
        <a:buBlip>
          <a:blip r:embed="rId34"/>
        </a:buBlip>
        <a:defRPr lang="en-US" sz="28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987425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25253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1448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33413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6" pos="50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9" orient="horz" pos="1474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2" orient="horz" pos="2696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19" orient="horz" pos="2702" userDrawn="1">
          <p15:clr>
            <a:srgbClr val="F26B43"/>
          </p15:clr>
        </p15:guide>
        <p15:guide id="21" pos="2634" userDrawn="1">
          <p15:clr>
            <a:srgbClr val="F26B43"/>
          </p15:clr>
        </p15:guide>
        <p15:guide id="22" pos="5046" userDrawn="1">
          <p15:clr>
            <a:srgbClr val="F26B43"/>
          </p15:clr>
        </p15:guide>
        <p15:guide id="23" orient="horz" pos="1468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698559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839" y="1653924"/>
            <a:ext cx="10356382" cy="4594475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3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  <p:sldLayoutId id="2147483819" r:id="rId23"/>
    <p:sldLayoutId id="214748382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22313" indent="-722313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SzPct val="100000"/>
        <a:buFontTx/>
        <a:buBlip>
          <a:blip r:embed="rId30"/>
        </a:buBlip>
        <a:defRPr lang="en-US" sz="28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987425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25253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1448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33413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4" orient="horz" pos="4080">
          <p15:clr>
            <a:srgbClr val="F26B43"/>
          </p15:clr>
        </p15:guide>
        <p15:guide id="15" orient="horz" pos="3936">
          <p15:clr>
            <a:srgbClr val="F26B43"/>
          </p15:clr>
        </p15:guide>
        <p15:guide id="17" pos="5034">
          <p15:clr>
            <a:srgbClr val="F26B43"/>
          </p15:clr>
        </p15:guide>
        <p15:guide id="18" orient="horz" pos="3312">
          <p15:clr>
            <a:srgbClr val="F26B43"/>
          </p15:clr>
        </p15:guide>
        <p15:guide id="19" orient="horz" pos="2702">
          <p15:clr>
            <a:srgbClr val="F26B43"/>
          </p15:clr>
        </p15:guide>
        <p15:guide id="21" pos="2634">
          <p15:clr>
            <a:srgbClr val="F26B43"/>
          </p15:clr>
        </p15:guide>
        <p15:guide id="22" pos="5046">
          <p15:clr>
            <a:srgbClr val="F26B43"/>
          </p15:clr>
        </p15:guide>
        <p15:guide id="23" orient="horz" pos="1468">
          <p15:clr>
            <a:srgbClr val="F26B43"/>
          </p15:clr>
        </p15:guide>
        <p15:guide id="25" orient="horz" pos="1480">
          <p15:clr>
            <a:srgbClr val="F26B43"/>
          </p15:clr>
        </p15:guide>
        <p15:guide id="26" orient="horz" pos="2706">
          <p15:clr>
            <a:srgbClr val="F26B43"/>
          </p15:clr>
        </p15:guide>
        <p15:guide id="27" pos="2648">
          <p15:clr>
            <a:srgbClr val="F26B43"/>
          </p15:clr>
        </p15:guide>
        <p15:guide id="28" orient="horz" pos="576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26577" y="6577705"/>
            <a:ext cx="362044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900" dirty="0">
              <a:solidFill>
                <a:srgbClr val="7F7F7F"/>
              </a:solidFill>
              <a:latin typeface="Arial Black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7140120" y="6567488"/>
            <a:ext cx="4445814" cy="252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/>
            <a:endParaRPr lang="en-US" sz="800" dirty="0">
              <a:solidFill>
                <a:srgbClr val="7F7F7F"/>
              </a:solidFill>
              <a:latin typeface="Arial Black" charset="0"/>
            </a:endParaRPr>
          </a:p>
        </p:txBody>
      </p:sp>
      <p:grpSp>
        <p:nvGrpSpPr>
          <p:cNvPr id="9" name="Group 22">
            <a:extLst>
              <a:ext uri="{FF2B5EF4-FFF2-40B4-BE49-F238E27FC236}">
                <a16:creationId xmlns:a16="http://schemas.microsoft.com/office/drawing/2014/main" id="{ACAEF6C0-2A46-4229-8470-3BC0561B1E8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-264085" y="6596403"/>
            <a:ext cx="2147228" cy="184155"/>
            <a:chOff x="9374212" y="6574531"/>
            <a:chExt cx="2147228" cy="182885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25478A4-00B0-48AF-8819-75AC725E27A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>
                <a:extLst>
                  <a:ext uri="{FF2B5EF4-FFF2-40B4-BE49-F238E27FC236}">
                    <a16:creationId xmlns:a16="http://schemas.microsoft.com/office/drawing/2014/main" id="{FCF60A69-39E6-44C1-B3A3-D2041412950C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53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27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>
                <a:extLst>
                  <a:ext uri="{FF2B5EF4-FFF2-40B4-BE49-F238E27FC236}">
                    <a16:creationId xmlns:a16="http://schemas.microsoft.com/office/drawing/2014/main" id="{CE13CB91-2B70-4D6A-B0D6-11D2B12B8C4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53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539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November 2020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>
                <a:extLst>
                  <a:ext uri="{FF2B5EF4-FFF2-40B4-BE49-F238E27FC236}">
                    <a16:creationId xmlns:a16="http://schemas.microsoft.com/office/drawing/2014/main" id="{D874C53D-FDB8-485D-9FBA-D39A152C9C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53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>
              <a:extLst>
                <a:ext uri="{FF2B5EF4-FFF2-40B4-BE49-F238E27FC236}">
                  <a16:creationId xmlns:a16="http://schemas.microsoft.com/office/drawing/2014/main" id="{2A4A5828-F9E5-4F91-9E72-631304C46B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1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653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9" r:id="rId15"/>
    <p:sldLayoutId id="2147483840" r:id="rId16"/>
    <p:sldLayoutId id="2147483841" r:id="rId17"/>
  </p:sldLayoutIdLst>
  <p:transition>
    <p:fade/>
  </p:transition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lang="en-US" sz="3200" dirty="0">
          <a:solidFill>
            <a:schemeClr val="tx1"/>
          </a:solidFill>
          <a:latin typeface="+mj-lt"/>
          <a:ea typeface="ヒラギノ角ゴ Pro W3" charset="0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ヒラギノ角ゴ Pro W3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ヒラギノ角ゴ Pro W3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ヒラギノ角ゴ Pro W3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ヒラギノ角ゴ Pro W3" charset="0"/>
          <a:cs typeface="Arial" charset="0"/>
        </a:defRPr>
      </a:lvl5pPr>
      <a:lvl6pPr marL="4572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9pPr>
    </p:titleStyle>
    <p:bodyStyle>
      <a:lvl1pPr marL="236538" indent="-236538" algn="l" rtl="0" eaLnBrk="1" fontAlgn="base" hangingPunct="1">
        <a:spcBef>
          <a:spcPct val="20000"/>
        </a:spcBef>
        <a:spcAft>
          <a:spcPts val="500"/>
        </a:spcAft>
        <a:buClr>
          <a:schemeClr val="bg2"/>
        </a:buClr>
        <a:buFont typeface="Wingdings" charset="0"/>
        <a:buChar char="§"/>
        <a:defRPr sz="2800">
          <a:solidFill>
            <a:schemeClr val="tx1"/>
          </a:solidFill>
          <a:latin typeface="+mn-lt"/>
          <a:ea typeface="ヒラギノ角ゴ Pro W3" charset="0"/>
          <a:cs typeface="+mn-cs"/>
        </a:defRPr>
      </a:lvl1pPr>
      <a:lvl2pPr marL="574675" indent="-338138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charset="0"/>
        <a:buChar char="―"/>
        <a:defRPr sz="2400">
          <a:solidFill>
            <a:schemeClr val="tx1"/>
          </a:solidFill>
          <a:latin typeface="+mn-lt"/>
          <a:ea typeface="ヒラギノ角ゴ Pro W3" charset="0"/>
          <a:cs typeface="+mn-cs"/>
        </a:defRPr>
      </a:lvl2pPr>
      <a:lvl3pPr marL="738188" indent="-1635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80000"/>
        <a:buFont typeface="Arial" charset="0"/>
        <a:buChar char="•"/>
        <a:defRPr sz="2000">
          <a:solidFill>
            <a:schemeClr val="tx1"/>
          </a:solidFill>
          <a:latin typeface="+mn-lt"/>
          <a:ea typeface="ヒラギノ角ゴ Pro W3" charset="0"/>
          <a:cs typeface="+mn-cs"/>
        </a:defRPr>
      </a:lvl3pPr>
      <a:lvl4pPr marL="914400" indent="-1762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charset="0"/>
        <a:buChar char="–"/>
        <a:defRPr>
          <a:solidFill>
            <a:schemeClr val="tx1"/>
          </a:solidFill>
          <a:latin typeface="+mn-lt"/>
          <a:ea typeface="ヒラギノ角ゴ Pro W3" charset="0"/>
          <a:cs typeface="+mn-cs"/>
        </a:defRPr>
      </a:lvl4pPr>
      <a:lvl5pPr marL="1828800" indent="-547688" algn="l" rtl="0" eaLnBrk="1" fontAlgn="base" hangingPunct="1">
        <a:spcBef>
          <a:spcPts val="600"/>
        </a:spcBef>
        <a:spcAft>
          <a:spcPts val="600"/>
        </a:spcAft>
        <a:buClr>
          <a:srgbClr val="948A54"/>
        </a:buClr>
        <a:buSzPct val="80000"/>
        <a:buFont typeface="Wingdings" charset="0"/>
        <a:buChar char="§"/>
        <a:defRPr sz="1600">
          <a:solidFill>
            <a:srgbClr val="4D4D4D"/>
          </a:solidFill>
          <a:latin typeface="+mn-lt"/>
          <a:ea typeface="ヒラギノ角ゴ Pro W3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4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reeform 6"/>
          <p:cNvSpPr>
            <a:spLocks noEditPoints="1"/>
          </p:cNvSpPr>
          <p:nvPr userDrawn="1"/>
        </p:nvSpPr>
        <p:spPr bwMode="auto">
          <a:xfrm>
            <a:off x="5913041" y="6532595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799" dirty="0">
              <a:solidFill>
                <a:srgbClr val="000000"/>
              </a:solidFill>
              <a:latin typeface="3M Circular TT Book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604175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29B7B62B-0732-4BEA-A6C8-5CF96588F2B9}" type="slidenum">
              <a:rPr lang="en-US" sz="800">
                <a:solidFill>
                  <a:srgbClr val="000000"/>
                </a:solidFill>
                <a:latin typeface="3M Circular TT Book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000000"/>
              </a:solidFill>
              <a:latin typeface="3M Circular TT Book"/>
              <a:ea typeface="+mn-ea"/>
              <a:cs typeface="+mn-cs"/>
            </a:endParaRPr>
          </a:p>
        </p:txBody>
      </p:sp>
      <p:sp>
        <p:nvSpPr>
          <p:cNvPr id="9" name="TextBox 24"/>
          <p:cNvSpPr txBox="1">
            <a:spLocks noChangeArrowheads="1"/>
          </p:cNvSpPr>
          <p:nvPr userDrawn="1"/>
        </p:nvSpPr>
        <p:spPr bwMode="auto">
          <a:xfrm>
            <a:off x="378796" y="6547282"/>
            <a:ext cx="2903025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kern="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© 3M</a:t>
            </a:r>
            <a:r>
              <a:rPr lang="pl-PL" sz="800" kern="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 | </a:t>
            </a:r>
            <a:r>
              <a:rPr lang="en-US" sz="800" kern="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All Rights Reserved</a:t>
            </a:r>
            <a:r>
              <a:rPr lang="pl-PL" sz="800" kern="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 | </a:t>
            </a: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5753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  <p:sldLayoutId id="2147483895" r:id="rId27"/>
    <p:sldLayoutId id="2147483896" r:id="rId28"/>
    <p:sldLayoutId id="2147483897" r:id="rId29"/>
    <p:sldLayoutId id="2147483900" r:id="rId30"/>
  </p:sldLayoutIdLst>
  <p:hf hdr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31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5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998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453" indent="-182453" algn="l" defTabSz="91385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998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6974" indent="-174521" algn="l" defTabSz="91385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426" indent="-182453" algn="l" defTabSz="91385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3947" indent="-174521" algn="l" defTabSz="91385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3" orient="horz" pos="4080">
          <p15:clr>
            <a:srgbClr val="F26B43"/>
          </p15:clr>
        </p15:guide>
        <p15:guide id="14" orient="horz" pos="3936">
          <p15:clr>
            <a:srgbClr val="F26B43"/>
          </p15:clr>
        </p15:guide>
        <p15:guide id="15" pos="5034">
          <p15:clr>
            <a:srgbClr val="F26B43"/>
          </p15:clr>
        </p15:guide>
        <p15:guide id="16" orient="horz" pos="3312">
          <p15:clr>
            <a:srgbClr val="F26B43"/>
          </p15:clr>
        </p15:guide>
        <p15:guide id="17" orient="horz" pos="2702">
          <p15:clr>
            <a:srgbClr val="F26B43"/>
          </p15:clr>
        </p15:guide>
        <p15:guide id="18" pos="2634">
          <p15:clr>
            <a:srgbClr val="F26B43"/>
          </p15:clr>
        </p15:guide>
        <p15:guide id="19" pos="5046">
          <p15:clr>
            <a:srgbClr val="F26B43"/>
          </p15:clr>
        </p15:guide>
        <p15:guide id="20" orient="horz" pos="1468">
          <p15:clr>
            <a:srgbClr val="F26B43"/>
          </p15:clr>
        </p15:guide>
        <p15:guide id="21" orient="horz" pos="1480">
          <p15:clr>
            <a:srgbClr val="F26B43"/>
          </p15:clr>
        </p15:guide>
        <p15:guide id="22" orient="horz" pos="2706">
          <p15:clr>
            <a:srgbClr val="F26B43"/>
          </p15:clr>
        </p15:guide>
        <p15:guide id="23" pos="2648">
          <p15:clr>
            <a:srgbClr val="F26B43"/>
          </p15:clr>
        </p15:guide>
        <p15:guide id="24" orient="horz" pos="576">
          <p15:clr>
            <a:srgbClr val="FBAE4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9759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4" orient="horz" pos="4080">
          <p15:clr>
            <a:srgbClr val="F26B43"/>
          </p15:clr>
        </p15:guide>
        <p15:guide id="15" orient="horz" pos="3936">
          <p15:clr>
            <a:srgbClr val="F26B43"/>
          </p15:clr>
        </p15:guide>
        <p15:guide id="17" pos="5034">
          <p15:clr>
            <a:srgbClr val="F26B43"/>
          </p15:clr>
        </p15:guide>
        <p15:guide id="18" orient="horz" pos="3312">
          <p15:clr>
            <a:srgbClr val="F26B43"/>
          </p15:clr>
        </p15:guide>
        <p15:guide id="19" orient="horz" pos="2702">
          <p15:clr>
            <a:srgbClr val="F26B43"/>
          </p15:clr>
        </p15:guide>
        <p15:guide id="21" pos="2634">
          <p15:clr>
            <a:srgbClr val="F26B43"/>
          </p15:clr>
        </p15:guide>
        <p15:guide id="22" pos="5046">
          <p15:clr>
            <a:srgbClr val="F26B43"/>
          </p15:clr>
        </p15:guide>
        <p15:guide id="23" orient="horz" pos="1468">
          <p15:clr>
            <a:srgbClr val="F26B43"/>
          </p15:clr>
        </p15:guide>
        <p15:guide id="25" orient="horz" pos="1480">
          <p15:clr>
            <a:srgbClr val="F26B43"/>
          </p15:clr>
        </p15:guide>
        <p15:guide id="26" orient="horz" pos="2706">
          <p15:clr>
            <a:srgbClr val="F26B43"/>
          </p15:clr>
        </p15:guide>
        <p15:guide id="27" pos="2648">
          <p15:clr>
            <a:srgbClr val="F26B43"/>
          </p15:clr>
        </p15:guide>
        <p15:guide id="28" orient="horz" pos="57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0.jpe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2.jpe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13" Type="http://schemas.openxmlformats.org/officeDocument/2006/relationships/image" Target="../media/image58.jpeg"/><Relationship Id="rId18" Type="http://schemas.openxmlformats.org/officeDocument/2006/relationships/image" Target="../media/image62.jpe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1.jpe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4" Type="http://schemas.openxmlformats.org/officeDocument/2006/relationships/image" Target="../media/image49.jpeg"/><Relationship Id="rId9" Type="http://schemas.openxmlformats.org/officeDocument/2006/relationships/image" Target="../media/image54.png"/><Relationship Id="rId14" Type="http://schemas.openxmlformats.org/officeDocument/2006/relationships/image" Target="../media/image5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8.jpe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jpeg"/><Relationship Id="rId5" Type="http://schemas.openxmlformats.org/officeDocument/2006/relationships/image" Target="../media/image17.png"/><Relationship Id="rId4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jpe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0767" y="1234139"/>
            <a:ext cx="6978245" cy="1989121"/>
          </a:xfrm>
        </p:spPr>
        <p:txBody>
          <a:bodyPr/>
          <a:lstStyle/>
          <a:p>
            <a:r>
              <a:rPr lang="sv-SE" sz="3200" dirty="0" err="1"/>
              <a:t>NPI´s</a:t>
            </a:r>
            <a:br>
              <a:rPr lang="sv-SE" sz="3200" dirty="0"/>
            </a:br>
            <a:br>
              <a:rPr lang="sv-SE" sz="3200" dirty="0"/>
            </a:br>
            <a:r>
              <a:rPr lang="sv-SE" sz="3200" dirty="0"/>
              <a:t>3M™ PELTOR™ New </a:t>
            </a:r>
            <a:r>
              <a:rPr lang="sv-SE" sz="3200" dirty="0" err="1"/>
              <a:t>LiteCom</a:t>
            </a:r>
            <a:r>
              <a:rPr lang="sv-SE" sz="3200" dirty="0"/>
              <a:t> Plus</a:t>
            </a:r>
            <a:br>
              <a:rPr lang="sv-SE" sz="3200" dirty="0"/>
            </a:br>
            <a:br>
              <a:rPr lang="sv-SE" dirty="0"/>
            </a:b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85593" y="5370900"/>
            <a:ext cx="9472598" cy="1041330"/>
          </a:xfrm>
        </p:spPr>
        <p:txBody>
          <a:bodyPr/>
          <a:lstStyle/>
          <a:p>
            <a:r>
              <a:rPr lang="sv-SE" b="1" dirty="0"/>
              <a:t>Rikard Edberg</a:t>
            </a:r>
          </a:p>
        </p:txBody>
      </p:sp>
    </p:spTree>
    <p:extLst>
      <p:ext uri="{BB962C8B-B14F-4D97-AF65-F5344CB8AC3E}">
        <p14:creationId xmlns:p14="http://schemas.microsoft.com/office/powerpoint/2010/main" val="23102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In the box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37" y="1653925"/>
            <a:ext cx="9732437" cy="4594476"/>
          </a:xfrm>
        </p:spPr>
        <p:txBody>
          <a:bodyPr/>
          <a:lstStyle/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sv-SE" sz="2000" dirty="0"/>
              <a:t>1 x 3M™ PELTOR™ </a:t>
            </a:r>
            <a:r>
              <a:rPr lang="sv-SE" sz="2000" dirty="0" err="1"/>
              <a:t>LiteCom</a:t>
            </a:r>
            <a:r>
              <a:rPr lang="sv-SE" sz="2000" dirty="0"/>
              <a:t> Plus Headset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sv-SE" sz="2000" dirty="0"/>
              <a:t>1 </a:t>
            </a:r>
            <a:r>
              <a:rPr lang="en-US" sz="2000" dirty="0"/>
              <a:t>x Battery </a:t>
            </a:r>
            <a:r>
              <a:rPr lang="sv-SE" sz="2000" dirty="0"/>
              <a:t>ACK081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dirty="0"/>
              <a:t>1 x Power supply FR08 (240 V to USB)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it-IT" sz="2000" dirty="0"/>
              <a:t>1 x Charging cable AL2AI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it-IT" sz="2000" dirty="0"/>
              <a:t>1 x Hygiene kit HY83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it-IT" sz="2000" dirty="0"/>
              <a:t>1 x Mic tape HYM1000-100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dirty="0"/>
              <a:t>1 x User instruction</a:t>
            </a:r>
            <a:br>
              <a:rPr lang="en-US" sz="2000" dirty="0"/>
            </a:br>
            <a:endParaRPr lang="en-US" sz="2400" dirty="0"/>
          </a:p>
        </p:txBody>
      </p:sp>
      <p:pic>
        <p:nvPicPr>
          <p:cNvPr id="4" name="Picture 4" descr="C:\Users\a1h45zz\Pictures\20130820344.jpg">
            <a:extLst>
              <a:ext uri="{FF2B5EF4-FFF2-40B4-BE49-F238E27FC236}">
                <a16:creationId xmlns:a16="http://schemas.microsoft.com/office/drawing/2014/main" id="{B5479D8F-40CE-4C9A-AD98-F8E3557BB9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87086" y="3292996"/>
            <a:ext cx="2518538" cy="2689475"/>
          </a:xfrm>
          <a:prstGeom prst="rect">
            <a:avLst/>
          </a:prstGeom>
          <a:noFill/>
        </p:spPr>
      </p:pic>
      <p:pic>
        <p:nvPicPr>
          <p:cNvPr id="7" name="Bildobjekt 1" descr="signature_1368872">
            <a:extLst>
              <a:ext uri="{FF2B5EF4-FFF2-40B4-BE49-F238E27FC236}">
                <a16:creationId xmlns:a16="http://schemas.microsoft.com/office/drawing/2014/main" id="{178E7C8C-0AC6-4EF7-AD58-59D81604B38B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1048" y="6449404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A0274D-6EF9-43DC-B63E-19FF3E51BDB5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12" name="Picture 11" descr="A picture containing bag&#10;&#10;Description automatically generated">
            <a:extLst>
              <a:ext uri="{FF2B5EF4-FFF2-40B4-BE49-F238E27FC236}">
                <a16:creationId xmlns:a16="http://schemas.microsoft.com/office/drawing/2014/main" id="{DF5643B3-2BF7-4E38-90A2-0911F115A7E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10037637" y="114924"/>
            <a:ext cx="1790348" cy="290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93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191" y="379413"/>
            <a:ext cx="10353685" cy="992187"/>
          </a:xfrm>
        </p:spPr>
        <p:txBody>
          <a:bodyPr/>
          <a:lstStyle/>
          <a:p>
            <a:r>
              <a:rPr lang="en-US" dirty="0">
                <a:cs typeface="3M Circular TT Book" panose="020B0604020101020102" pitchFamily="34" charset="0"/>
              </a:rPr>
              <a:t>News compare to old 3M</a:t>
            </a:r>
            <a:r>
              <a:rPr lang="en-GB" baseline="30000" dirty="0">
                <a:cs typeface="3M Circular TT Book" panose="020B0604020101020102" pitchFamily="34" charset="0"/>
              </a:rPr>
              <a:t>™</a:t>
            </a:r>
            <a:r>
              <a:rPr lang="en-US" dirty="0">
                <a:cs typeface="3M Circular TT Book" panose="020B0604020101020102" pitchFamily="34" charset="0"/>
              </a:rPr>
              <a:t> PELTOR</a:t>
            </a:r>
            <a:r>
              <a:rPr lang="en-GB" baseline="30000" dirty="0">
                <a:cs typeface="3M Circular TT Book" panose="020B0604020101020102" pitchFamily="34" charset="0"/>
              </a:rPr>
              <a:t>™</a:t>
            </a:r>
            <a:r>
              <a:rPr lang="en-US" baseline="30000" dirty="0">
                <a:cs typeface="3M Circular TT Book" panose="020B0604020101020102" pitchFamily="34" charset="0"/>
              </a:rPr>
              <a:t> </a:t>
            </a:r>
            <a:r>
              <a:rPr lang="sv-SE" dirty="0" err="1">
                <a:cs typeface="3M Circular TT Book" panose="020B0604020101020102" pitchFamily="34" charset="0"/>
              </a:rPr>
              <a:t>LiteCom</a:t>
            </a:r>
            <a:r>
              <a:rPr lang="sv-SE" dirty="0">
                <a:cs typeface="3M Circular TT Book" panose="020B0604020101020102" pitchFamily="34" charset="0"/>
              </a:rPr>
              <a:t> Pl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5188" y="1654387"/>
            <a:ext cx="8299149" cy="2696896"/>
          </a:xfrm>
        </p:spPr>
        <p:txBody>
          <a:bodyPr/>
          <a:lstStyle/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/>
              <a:t>New color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/>
              <a:t>Upgraded microphone MT73 (IP68) watertight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/>
              <a:t>Push-to-Listen function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/>
              <a:t>Voice menu with multiple language selection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/>
              <a:t>IP54 in use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/>
              <a:t>16 channels</a:t>
            </a:r>
          </a:p>
          <a:p>
            <a:pPr marL="0" indent="0">
              <a:spcAft>
                <a:spcPts val="1200"/>
              </a:spcAft>
              <a:buNone/>
              <a:tabLst>
                <a:tab pos="3762834" algn="l"/>
                <a:tab pos="8422336" algn="l"/>
              </a:tabLst>
            </a:pPr>
            <a:br>
              <a:rPr lang="en-US" sz="1600" dirty="0"/>
            </a:br>
            <a:endParaRPr lang="en-US" sz="1600" dirty="0"/>
          </a:p>
        </p:txBody>
      </p:sp>
      <p:pic>
        <p:nvPicPr>
          <p:cNvPr id="5" name="Picture 3" descr="C:\Users\a1h45zz\Documents\Active hearing\Products\LiteCom\LiteCom Plus MT7H7A4410_EU.jpg">
            <a:extLst>
              <a:ext uri="{FF2B5EF4-FFF2-40B4-BE49-F238E27FC236}">
                <a16:creationId xmlns:a16="http://schemas.microsoft.com/office/drawing/2014/main" id="{7C8669B5-6F0B-407B-859A-EE8EDA28F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8413" y="3106381"/>
            <a:ext cx="2570323" cy="3014108"/>
          </a:xfrm>
          <a:prstGeom prst="rect">
            <a:avLst/>
          </a:prstGeom>
          <a:noFill/>
        </p:spPr>
      </p:pic>
      <p:pic>
        <p:nvPicPr>
          <p:cNvPr id="6" name="Bildobjekt 1" descr="signature_1368872">
            <a:extLst>
              <a:ext uri="{FF2B5EF4-FFF2-40B4-BE49-F238E27FC236}">
                <a16:creationId xmlns:a16="http://schemas.microsoft.com/office/drawing/2014/main" id="{F21F8743-BC38-4C28-A0D7-A8A5A67B8012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8B92E9E-ACA2-457B-8CF1-5AFCDAD1728E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8" name="Picture 7" descr="A picture containing bag&#10;&#10;Description automatically generated">
            <a:extLst>
              <a:ext uri="{FF2B5EF4-FFF2-40B4-BE49-F238E27FC236}">
                <a16:creationId xmlns:a16="http://schemas.microsoft.com/office/drawing/2014/main" id="{9E4BA5BC-91F0-4C75-B304-987668DAF04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9624240" y="1111448"/>
            <a:ext cx="2157856" cy="3501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4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ompatibility</a:t>
            </a:r>
            <a:br>
              <a:rPr lang="sv-SE" dirty="0"/>
            </a:b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40" y="1202373"/>
            <a:ext cx="10962850" cy="418609"/>
          </a:xfrm>
        </p:spPr>
        <p:txBody>
          <a:bodyPr/>
          <a:lstStyle/>
          <a:p>
            <a:pPr>
              <a:tabLst>
                <a:tab pos="3763963" algn="l"/>
                <a:tab pos="8424863" algn="l"/>
              </a:tabLst>
            </a:pPr>
            <a:r>
              <a:rPr lang="sv-SE" sz="2000" dirty="0"/>
              <a:t>All </a:t>
            </a:r>
            <a:r>
              <a:rPr lang="en-US" sz="2000" dirty="0"/>
              <a:t>3M</a:t>
            </a:r>
            <a:r>
              <a:rPr lang="en-GB" sz="2000" baseline="30000" dirty="0"/>
              <a:t>™</a:t>
            </a:r>
            <a:r>
              <a:rPr lang="en-US" sz="2000" dirty="0"/>
              <a:t> PELTOR</a:t>
            </a:r>
            <a:r>
              <a:rPr lang="en-GB" sz="2000" baseline="30000" dirty="0"/>
              <a:t>™</a:t>
            </a:r>
            <a:r>
              <a:rPr lang="en-US" sz="2000" dirty="0"/>
              <a:t> </a:t>
            </a:r>
            <a:r>
              <a:rPr lang="sv-SE" sz="2000" dirty="0" err="1"/>
              <a:t>LiteCom</a:t>
            </a:r>
            <a:r>
              <a:rPr lang="sv-SE" sz="2000" dirty="0"/>
              <a:t> (PMR) </a:t>
            </a:r>
            <a:r>
              <a:rPr lang="sv-SE" sz="2000" dirty="0" err="1"/>
              <a:t>product</a:t>
            </a:r>
            <a:r>
              <a:rPr lang="sv-SE" sz="2000" dirty="0"/>
              <a:t> headsets and PMR radios can be connected</a:t>
            </a:r>
            <a:endParaRPr lang="en-US" sz="2400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9441534C-2656-4F31-9081-2C3308CD7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r="12100"/>
          <a:stretch>
            <a:fillRect/>
          </a:stretch>
        </p:blipFill>
        <p:spPr bwMode="auto">
          <a:xfrm>
            <a:off x="3550811" y="1620982"/>
            <a:ext cx="5090378" cy="416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EBD7E73-4E18-40CE-BD15-9CA528EA74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2383" y="2270630"/>
            <a:ext cx="1216031" cy="1798522"/>
          </a:xfrm>
          <a:prstGeom prst="rect">
            <a:avLst/>
          </a:prstGeom>
        </p:spPr>
      </p:pic>
      <p:pic>
        <p:nvPicPr>
          <p:cNvPr id="8" name="il_fi" descr="http://cdn2.sbnation.com/entry_photo_images/8781761/iphone5_ios7_large_verge_medium_landscape.jpg">
            <a:extLst>
              <a:ext uri="{FF2B5EF4-FFF2-40B4-BE49-F238E27FC236}">
                <a16:creationId xmlns:a16="http://schemas.microsoft.com/office/drawing/2014/main" id="{9C2FF0C1-0E2C-4283-B7ED-3668437DE5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2822" y="4621801"/>
            <a:ext cx="1095592" cy="615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EBD7BA91-A111-4072-8940-78B6CC84425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99" r="21391"/>
          <a:stretch/>
        </p:blipFill>
        <p:spPr>
          <a:xfrm>
            <a:off x="6620625" y="3705324"/>
            <a:ext cx="1180958" cy="17071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EE0CECE-2F4F-41CA-83B7-161644E94AC1}"/>
              </a:ext>
            </a:extLst>
          </p:cNvPr>
          <p:cNvSpPr/>
          <p:nvPr/>
        </p:nvSpPr>
        <p:spPr>
          <a:xfrm>
            <a:off x="6620625" y="5535038"/>
            <a:ext cx="772396" cy="1205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BE2F7C-73AD-43EA-8613-24A1A6AB117F}"/>
              </a:ext>
            </a:extLst>
          </p:cNvPr>
          <p:cNvSpPr txBox="1"/>
          <p:nvPr/>
        </p:nvSpPr>
        <p:spPr>
          <a:xfrm>
            <a:off x="7835666" y="5396539"/>
            <a:ext cx="330740" cy="1308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850" b="1" dirty="0"/>
              <a:t>Plu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6502F6-58A2-464D-8963-90E5673BD6E7}"/>
              </a:ext>
            </a:extLst>
          </p:cNvPr>
          <p:cNvSpPr/>
          <p:nvPr/>
        </p:nvSpPr>
        <p:spPr>
          <a:xfrm>
            <a:off x="8046131" y="4069152"/>
            <a:ext cx="1895071" cy="223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" b="1" dirty="0">
                <a:latin typeface="+mj-lt"/>
              </a:rPr>
              <a:t>3M</a:t>
            </a:r>
            <a:r>
              <a:rPr lang="en-GB" sz="850" b="1" baseline="30000" dirty="0">
                <a:latin typeface="+mj-lt"/>
              </a:rPr>
              <a:t>™</a:t>
            </a:r>
            <a:r>
              <a:rPr lang="en-US" sz="850" b="1" dirty="0">
                <a:latin typeface="+mj-lt"/>
              </a:rPr>
              <a:t> PELTOR</a:t>
            </a:r>
            <a:r>
              <a:rPr lang="en-GB" sz="850" b="1" baseline="30000" dirty="0">
                <a:latin typeface="+mj-lt"/>
              </a:rPr>
              <a:t>™</a:t>
            </a:r>
            <a:r>
              <a:rPr lang="en-US" sz="850" b="1" dirty="0">
                <a:latin typeface="+mj-lt"/>
              </a:rPr>
              <a:t> </a:t>
            </a:r>
            <a:r>
              <a:rPr lang="sv-SE" sz="850" b="1" dirty="0">
                <a:latin typeface="+mj-lt"/>
              </a:rPr>
              <a:t>WS </a:t>
            </a:r>
            <a:r>
              <a:rPr lang="sv-SE" sz="850" b="1" dirty="0" err="1">
                <a:latin typeface="+mj-lt"/>
              </a:rPr>
              <a:t>LiteCom</a:t>
            </a:r>
            <a:r>
              <a:rPr lang="sv-SE" sz="850" b="1" dirty="0">
                <a:latin typeface="+mj-lt"/>
              </a:rPr>
              <a:t> III </a:t>
            </a:r>
            <a:r>
              <a:rPr lang="en-US" sz="850" b="1">
                <a:latin typeface="+mj-lt"/>
              </a:rPr>
              <a:t>GB</a:t>
            </a:r>
            <a:endParaRPr lang="sv-SE" sz="850" b="1" dirty="0"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A64DC1-2D8D-42A1-B459-DBC0755094B1}"/>
              </a:ext>
            </a:extLst>
          </p:cNvPr>
          <p:cNvSpPr/>
          <p:nvPr/>
        </p:nvSpPr>
        <p:spPr>
          <a:xfrm>
            <a:off x="4224378" y="2011262"/>
            <a:ext cx="772396" cy="1205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6DB5C7-03B3-434B-A6CB-F437F6F33992}"/>
              </a:ext>
            </a:extLst>
          </p:cNvPr>
          <p:cNvSpPr/>
          <p:nvPr/>
        </p:nvSpPr>
        <p:spPr>
          <a:xfrm>
            <a:off x="3942276" y="5595332"/>
            <a:ext cx="866430" cy="1205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13" name="Bildobjekt 1" descr="signature_1368872">
            <a:extLst>
              <a:ext uri="{FF2B5EF4-FFF2-40B4-BE49-F238E27FC236}">
                <a16:creationId xmlns:a16="http://schemas.microsoft.com/office/drawing/2014/main" id="{69E33B19-586B-47C4-ABB1-439E30C056E2}"/>
              </a:ext>
            </a:extLst>
          </p:cNvPr>
          <p:cNvPicPr/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BD6CD90-CE4E-4A62-B108-13888B9CFA32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15" name="Picture 14" descr="A picture containing bag&#10;&#10;Description automatically generated">
            <a:extLst>
              <a:ext uri="{FF2B5EF4-FFF2-40B4-BE49-F238E27FC236}">
                <a16:creationId xmlns:a16="http://schemas.microsoft.com/office/drawing/2014/main" id="{AA512010-C2D6-453F-8839-BC57D1AED7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2271391" y="2443942"/>
            <a:ext cx="1216031" cy="197349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FE6F602-A900-43FC-B7A1-5441173BC568}"/>
              </a:ext>
            </a:extLst>
          </p:cNvPr>
          <p:cNvSpPr/>
          <p:nvPr/>
        </p:nvSpPr>
        <p:spPr>
          <a:xfrm>
            <a:off x="1903016" y="4292290"/>
            <a:ext cx="1952779" cy="223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850" b="1" dirty="0">
                <a:solidFill>
                  <a:prstClr val="black"/>
                </a:solidFill>
                <a:latin typeface="3M Circular TT Bold"/>
              </a:rPr>
              <a:t>3M</a:t>
            </a:r>
            <a:r>
              <a:rPr lang="en-GB" sz="850" b="1" baseline="30000" dirty="0">
                <a:solidFill>
                  <a:prstClr val="black"/>
                </a:solidFill>
                <a:latin typeface="3M Circular TT Bold"/>
              </a:rPr>
              <a:t>™</a:t>
            </a:r>
            <a:r>
              <a:rPr lang="en-US" sz="850" b="1" dirty="0">
                <a:solidFill>
                  <a:prstClr val="black"/>
                </a:solidFill>
                <a:latin typeface="3M Circular TT Bold"/>
              </a:rPr>
              <a:t> PELTOR</a:t>
            </a:r>
            <a:r>
              <a:rPr lang="en-GB" sz="850" b="1" baseline="30000" dirty="0">
                <a:solidFill>
                  <a:prstClr val="black"/>
                </a:solidFill>
                <a:latin typeface="3M Circular TT Bold"/>
              </a:rPr>
              <a:t>™</a:t>
            </a:r>
            <a:r>
              <a:rPr lang="en-US" sz="850" b="1" dirty="0">
                <a:solidFill>
                  <a:prstClr val="black"/>
                </a:solidFill>
                <a:latin typeface="3M Circular TT Bold"/>
              </a:rPr>
              <a:t> </a:t>
            </a:r>
            <a:r>
              <a:rPr lang="sv-SE" sz="850" b="1" dirty="0" err="1">
                <a:solidFill>
                  <a:prstClr val="black"/>
                </a:solidFill>
                <a:latin typeface="3M Circular TT Bold"/>
              </a:rPr>
              <a:t>LiteCom</a:t>
            </a:r>
            <a:r>
              <a:rPr lang="sv-SE" sz="850" b="1" dirty="0">
                <a:solidFill>
                  <a:prstClr val="black"/>
                </a:solidFill>
                <a:latin typeface="3M Circular TT Bold"/>
              </a:rPr>
              <a:t> Plus (New)</a:t>
            </a:r>
          </a:p>
        </p:txBody>
      </p:sp>
    </p:spTree>
    <p:extLst>
      <p:ext uri="{BB962C8B-B14F-4D97-AF65-F5344CB8AC3E}">
        <p14:creationId xmlns:p14="http://schemas.microsoft.com/office/powerpoint/2010/main" val="158004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7A8078C-6B53-4612-A492-53EE0ECA2486}"/>
              </a:ext>
            </a:extLst>
          </p:cNvPr>
          <p:cNvSpPr/>
          <p:nvPr/>
        </p:nvSpPr>
        <p:spPr>
          <a:xfrm>
            <a:off x="7168340" y="3285824"/>
            <a:ext cx="202205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latin typeface="Arial"/>
                <a:cs typeface="Arial"/>
              </a:rPr>
              <a:t>WS </a:t>
            </a:r>
            <a:r>
              <a:rPr lang="en-US" sz="1600" dirty="0" err="1">
                <a:latin typeface="Arial"/>
                <a:cs typeface="Arial"/>
              </a:rPr>
              <a:t>LiteCom</a:t>
            </a:r>
            <a:r>
              <a:rPr lang="en-US" sz="1600" dirty="0">
                <a:latin typeface="Arial"/>
                <a:cs typeface="Arial"/>
              </a:rPr>
              <a:t> Pro III</a:t>
            </a:r>
          </a:p>
          <a:p>
            <a:r>
              <a:rPr lang="en-US" dirty="0">
                <a:latin typeface="Arial Narrow" pitchFamily="34" charset="0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78E8B4-EE56-421C-87F3-0057D5959F5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5862" y="5202005"/>
            <a:ext cx="673214" cy="447993"/>
          </a:xfrm>
          <a:prstGeom prst="rect">
            <a:avLst/>
          </a:prstGeom>
        </p:spPr>
      </p:pic>
      <p:pic>
        <p:nvPicPr>
          <p:cNvPr id="7" name="Picture 6" descr="C:\Users\a1h45zz\Documents\Active hearing\Products\LiteCom\LiteCom MT53H7A4400_EU.jpg">
            <a:extLst>
              <a:ext uri="{FF2B5EF4-FFF2-40B4-BE49-F238E27FC236}">
                <a16:creationId xmlns:a16="http://schemas.microsoft.com/office/drawing/2014/main" id="{F396BD7B-AA00-44BE-9766-3BC793694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044" y="1582625"/>
            <a:ext cx="1451712" cy="1691476"/>
          </a:xfrm>
          <a:prstGeom prst="rect">
            <a:avLst/>
          </a:prstGeom>
          <a:noFill/>
        </p:spPr>
      </p:pic>
      <p:sp>
        <p:nvSpPr>
          <p:cNvPr id="8" name="TextBox 7">
            <a:hlinkClick r:id="" action="ppaction://noaction"/>
            <a:extLst>
              <a:ext uri="{FF2B5EF4-FFF2-40B4-BE49-F238E27FC236}">
                <a16:creationId xmlns:a16="http://schemas.microsoft.com/office/drawing/2014/main" id="{12AD09F2-8BD0-4215-9C0D-ACDD1267111A}"/>
              </a:ext>
            </a:extLst>
          </p:cNvPr>
          <p:cNvSpPr txBox="1"/>
          <p:nvPr/>
        </p:nvSpPr>
        <p:spPr>
          <a:xfrm>
            <a:off x="661912" y="3267787"/>
            <a:ext cx="1218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sz="1600" dirty="0" err="1">
                <a:latin typeface="Arial"/>
                <a:cs typeface="Arial"/>
              </a:rPr>
              <a:t>LiteCom</a:t>
            </a:r>
            <a:endParaRPr lang="en-US" sz="1600" dirty="0">
              <a:latin typeface="Arial"/>
              <a:cs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D6EC1080-5E0A-42A5-BD86-BDB39245E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5877" y="4421174"/>
            <a:ext cx="462273" cy="398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ED685E6B-E329-49D5-9C25-170F889C6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13029" y="3597049"/>
            <a:ext cx="462273" cy="4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75ED0AF0-17E8-4E79-BB75-4AB5EEC240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526" y="3606530"/>
            <a:ext cx="462273" cy="4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8960A52D-7FE6-4739-9F42-81A208566E82}"/>
              </a:ext>
            </a:extLst>
          </p:cNvPr>
          <p:cNvSpPr txBox="1"/>
          <p:nvPr/>
        </p:nvSpPr>
        <p:spPr>
          <a:xfrm>
            <a:off x="5032436" y="3272119"/>
            <a:ext cx="21724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sz="1600" dirty="0">
                <a:latin typeface="Arial"/>
                <a:cs typeface="Arial"/>
              </a:rPr>
              <a:t>WS </a:t>
            </a:r>
            <a:r>
              <a:rPr lang="en-US" sz="1600" dirty="0" err="1">
                <a:latin typeface="Arial"/>
                <a:cs typeface="Arial"/>
              </a:rPr>
              <a:t>LiteCom</a:t>
            </a:r>
            <a:r>
              <a:rPr lang="en-US" sz="1600" dirty="0">
                <a:latin typeface="Arial"/>
                <a:cs typeface="Arial"/>
              </a:rPr>
              <a:t> III GB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0C925CD-B94B-43D8-927F-3D1D158316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2641" y="1694164"/>
            <a:ext cx="1078590" cy="152055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D840A6-DBF2-43A9-A02A-1729586C1C7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0381" y="1694193"/>
            <a:ext cx="934798" cy="148467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306F28D5-E491-47E2-9601-015DCEC1C231}"/>
              </a:ext>
            </a:extLst>
          </p:cNvPr>
          <p:cNvSpPr/>
          <p:nvPr/>
        </p:nvSpPr>
        <p:spPr>
          <a:xfrm>
            <a:off x="9014833" y="3297181"/>
            <a:ext cx="2435541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latin typeface="Arial"/>
                <a:cs typeface="Arial"/>
              </a:rPr>
              <a:t>WS LiteCom Pro III Ex</a:t>
            </a:r>
          </a:p>
          <a:p>
            <a:r>
              <a:rPr lang="en-US" dirty="0">
                <a:latin typeface="Arial Narrow" pitchFamily="34" charset="0"/>
              </a:rPr>
              <a:t> 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64EF7C3-EEA4-478D-932C-FB78898C9D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20125" y="4846157"/>
            <a:ext cx="640400" cy="33416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6E667F3-0DC2-4523-8E66-66B3D960605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3482" y="1614468"/>
            <a:ext cx="1007424" cy="1489990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B8241193-854B-4F50-ABB6-7C942C5D9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0087" y="4396397"/>
            <a:ext cx="462273" cy="398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B5699EF1-F50E-42CB-8509-6A4331622F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1918" y="3618737"/>
            <a:ext cx="462273" cy="4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6">
            <a:extLst>
              <a:ext uri="{FF2B5EF4-FFF2-40B4-BE49-F238E27FC236}">
                <a16:creationId xmlns:a16="http://schemas.microsoft.com/office/drawing/2014/main" id="{A9675F20-18E3-4814-AAB6-85F2861A2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9856" y="4035308"/>
            <a:ext cx="465479" cy="396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5B4F2EC-96A5-4D10-828B-D0F266A4E79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1543" y="5136439"/>
            <a:ext cx="685098" cy="45590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F64242F-E30B-4BE4-8266-D616E11542A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8794" y="4799214"/>
            <a:ext cx="640400" cy="334168"/>
          </a:xfrm>
          <a:prstGeom prst="rect">
            <a:avLst/>
          </a:prstGeom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BA907A66-2043-4F5A-8C8C-9A1E9587D0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19730" y="4030162"/>
            <a:ext cx="465479" cy="396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1" descr="M:\USR\FUNKTION\MARK\COMMUNICATION\Symboler_2013\Slutliga symboler i EPS\Bluetooth.jpg">
            <a:extLst>
              <a:ext uri="{FF2B5EF4-FFF2-40B4-BE49-F238E27FC236}">
                <a16:creationId xmlns:a16="http://schemas.microsoft.com/office/drawing/2014/main" id="{3261979B-103C-4120-9A6C-4D40C3CE0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7833" y="5500575"/>
            <a:ext cx="456362" cy="452137"/>
          </a:xfrm>
          <a:prstGeom prst="rect">
            <a:avLst/>
          </a:prstGeom>
          <a:noFill/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6B9041E2-CD44-4EAD-A1AB-C402E222F4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3195" y="4404475"/>
            <a:ext cx="462273" cy="398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5F7D704D-C1F0-43EF-8163-83D1851BF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3920" y="4022902"/>
            <a:ext cx="465479" cy="396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1" descr="M:\USR\FUNKTION\MARK\COMMUNICATION\Symboler_2013\Slutliga symboler i EPS\Bluetooth.jpg">
            <a:extLst>
              <a:ext uri="{FF2B5EF4-FFF2-40B4-BE49-F238E27FC236}">
                <a16:creationId xmlns:a16="http://schemas.microsoft.com/office/drawing/2014/main" id="{1B0C5305-34F8-4FBE-910B-474C30AF6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2125" y="5500575"/>
            <a:ext cx="456362" cy="452137"/>
          </a:xfrm>
          <a:prstGeom prst="rect">
            <a:avLst/>
          </a:prstGeom>
          <a:noFill/>
        </p:spPr>
      </p:pic>
      <p:pic>
        <p:nvPicPr>
          <p:cNvPr id="33" name="Picture 3">
            <a:extLst>
              <a:ext uri="{FF2B5EF4-FFF2-40B4-BE49-F238E27FC236}">
                <a16:creationId xmlns:a16="http://schemas.microsoft.com/office/drawing/2014/main" id="{61D46C8A-082F-4181-8862-1A4CF2F69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2440" y="3614440"/>
            <a:ext cx="462273" cy="4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413781B6-4C64-49B4-AA8D-E01C6E571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91" y="4392100"/>
            <a:ext cx="462273" cy="398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6">
            <a:extLst>
              <a:ext uri="{FF2B5EF4-FFF2-40B4-BE49-F238E27FC236}">
                <a16:creationId xmlns:a16="http://schemas.microsoft.com/office/drawing/2014/main" id="{02945E69-C838-4715-9EDD-AA862B989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5760" y="4031011"/>
            <a:ext cx="465479" cy="396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43B9821-4A18-4445-962B-C9BEA9B327B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7447" y="5132142"/>
            <a:ext cx="685098" cy="45590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55A7DEE-8AAE-4A29-98CC-9893C1BBB1D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5334" y="4794664"/>
            <a:ext cx="640400" cy="334168"/>
          </a:xfrm>
          <a:prstGeom prst="rect">
            <a:avLst/>
          </a:prstGeom>
        </p:spPr>
      </p:pic>
      <p:pic>
        <p:nvPicPr>
          <p:cNvPr id="38" name="Picture 1" descr="M:\USR\FUNKTION\MARK\COMMUNICATION\Symboler_2013\Slutliga symboler i EPS\Bluetooth.jpg">
            <a:extLst>
              <a:ext uri="{FF2B5EF4-FFF2-40B4-BE49-F238E27FC236}">
                <a16:creationId xmlns:a16="http://schemas.microsoft.com/office/drawing/2014/main" id="{435722E8-E842-4C4C-A86B-C18864996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9372" y="5535189"/>
            <a:ext cx="456362" cy="452137"/>
          </a:xfrm>
          <a:prstGeom prst="rect">
            <a:avLst/>
          </a:prstGeom>
          <a:noFill/>
        </p:spPr>
      </p:pic>
      <p:pic>
        <p:nvPicPr>
          <p:cNvPr id="39" name="Picture 1" descr="M:\USR\FUNKTION\MARK\COMMUNICATION\Symboler_2013\Slutliga symboler i EPS\Bluetooth.jpg">
            <a:extLst>
              <a:ext uri="{FF2B5EF4-FFF2-40B4-BE49-F238E27FC236}">
                <a16:creationId xmlns:a16="http://schemas.microsoft.com/office/drawing/2014/main" id="{40BD83C3-1159-450C-AB1E-B50BF77B1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9451" y="5570352"/>
            <a:ext cx="444012" cy="439901"/>
          </a:xfrm>
          <a:prstGeom prst="rect">
            <a:avLst/>
          </a:prstGeom>
          <a:noFill/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8AFF53D3-83C9-46BA-903C-DA1F23804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809" y="358997"/>
            <a:ext cx="10356382" cy="465282"/>
          </a:xfrm>
        </p:spPr>
        <p:txBody>
          <a:bodyPr/>
          <a:lstStyle/>
          <a:p>
            <a:r>
              <a:rPr lang="en-US" dirty="0"/>
              <a:t>3M</a:t>
            </a:r>
            <a:r>
              <a:rPr lang="en-GB" baseline="30000" dirty="0"/>
              <a:t>™</a:t>
            </a:r>
            <a:r>
              <a:rPr lang="en-US" dirty="0"/>
              <a:t> PELTOR</a:t>
            </a:r>
            <a:r>
              <a:rPr lang="en-GB" baseline="30000" dirty="0"/>
              <a:t>™</a:t>
            </a:r>
            <a:r>
              <a:rPr lang="en-US" dirty="0"/>
              <a:t> </a:t>
            </a:r>
            <a:r>
              <a:rPr lang="sv-SE" dirty="0" err="1"/>
              <a:t>LiteCom</a:t>
            </a:r>
            <a:r>
              <a:rPr lang="sv-SE" dirty="0"/>
              <a:t> Product </a:t>
            </a:r>
            <a:r>
              <a:rPr lang="sv-SE" dirty="0" err="1"/>
              <a:t>Family</a:t>
            </a:r>
            <a:br>
              <a:rPr lang="sv-SE" dirty="0"/>
            </a:br>
            <a:endParaRPr lang="sv-SE" dirty="0"/>
          </a:p>
        </p:txBody>
      </p:sp>
      <p:sp>
        <p:nvSpPr>
          <p:cNvPr id="42" name="TextBox 41">
            <a:hlinkClick r:id="" action="ppaction://noaction"/>
            <a:extLst>
              <a:ext uri="{FF2B5EF4-FFF2-40B4-BE49-F238E27FC236}">
                <a16:creationId xmlns:a16="http://schemas.microsoft.com/office/drawing/2014/main" id="{ECA3D92F-B1FE-4555-8AF2-383834BD6627}"/>
              </a:ext>
            </a:extLst>
          </p:cNvPr>
          <p:cNvSpPr txBox="1"/>
          <p:nvPr/>
        </p:nvSpPr>
        <p:spPr>
          <a:xfrm>
            <a:off x="3287202" y="3264055"/>
            <a:ext cx="1846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sz="1600" dirty="0">
                <a:latin typeface="Arial"/>
                <a:cs typeface="Arial"/>
              </a:rPr>
              <a:t>WS </a:t>
            </a:r>
            <a:r>
              <a:rPr lang="en-US" sz="1600" dirty="0" err="1">
                <a:latin typeface="Arial"/>
                <a:cs typeface="Arial"/>
              </a:rPr>
              <a:t>LiteCom</a:t>
            </a:r>
            <a:r>
              <a:rPr lang="en-US" sz="1600" dirty="0">
                <a:latin typeface="Arial"/>
                <a:cs typeface="Arial"/>
              </a:rPr>
              <a:t> Plus</a:t>
            </a: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BFCF4CD3-8C8B-471D-B308-9D9809F4B6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8248" y="4515512"/>
            <a:ext cx="462273" cy="398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3">
            <a:extLst>
              <a:ext uri="{FF2B5EF4-FFF2-40B4-BE49-F238E27FC236}">
                <a16:creationId xmlns:a16="http://schemas.microsoft.com/office/drawing/2014/main" id="{095A85D2-12A5-4347-B24D-3F5385927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4023" y="3601346"/>
            <a:ext cx="462273" cy="4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6">
            <a:extLst>
              <a:ext uri="{FF2B5EF4-FFF2-40B4-BE49-F238E27FC236}">
                <a16:creationId xmlns:a16="http://schemas.microsoft.com/office/drawing/2014/main" id="{A6191F77-296C-4C12-B4C7-FFF8778B12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0528" y="4072894"/>
            <a:ext cx="465479" cy="396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1" descr="M:\USR\FUNKTION\MARK\COMMUNICATION\Symboler_2013\Slutliga symboler i EPS\Bluetooth.jpg">
            <a:extLst>
              <a:ext uri="{FF2B5EF4-FFF2-40B4-BE49-F238E27FC236}">
                <a16:creationId xmlns:a16="http://schemas.microsoft.com/office/drawing/2014/main" id="{6D948A56-ADB9-43E6-93CA-B1FEC5A2B6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9467" y="5397236"/>
            <a:ext cx="456362" cy="452137"/>
          </a:xfrm>
          <a:prstGeom prst="rect">
            <a:avLst/>
          </a:prstGeom>
          <a:noFill/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B8ED8CC-4265-4370-A11B-F371F02E2FF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136" y="4984476"/>
            <a:ext cx="640400" cy="334168"/>
          </a:xfrm>
          <a:prstGeom prst="rect">
            <a:avLst/>
          </a:prstGeom>
        </p:spPr>
      </p:pic>
      <p:pic>
        <p:nvPicPr>
          <p:cNvPr id="48" name="Content Placeholder 8">
            <a:extLst>
              <a:ext uri="{FF2B5EF4-FFF2-40B4-BE49-F238E27FC236}">
                <a16:creationId xmlns:a16="http://schemas.microsoft.com/office/drawing/2014/main" id="{B8A467E3-046F-4705-9A72-DD9C4EBA578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99" r="21391"/>
          <a:stretch/>
        </p:blipFill>
        <p:spPr>
          <a:xfrm>
            <a:off x="3737609" y="1665463"/>
            <a:ext cx="1007379" cy="1456219"/>
          </a:xfrm>
          <a:prstGeom prst="rect">
            <a:avLst/>
          </a:prstGeom>
        </p:spPr>
      </p:pic>
      <p:sp>
        <p:nvSpPr>
          <p:cNvPr id="49" name="TextBox 48">
            <a:hlinkClick r:id="" action="ppaction://noaction"/>
            <a:extLst>
              <a:ext uri="{FF2B5EF4-FFF2-40B4-BE49-F238E27FC236}">
                <a16:creationId xmlns:a16="http://schemas.microsoft.com/office/drawing/2014/main" id="{4D4C8011-B40E-45C4-B4D5-4780402ABB77}"/>
              </a:ext>
            </a:extLst>
          </p:cNvPr>
          <p:cNvSpPr txBox="1"/>
          <p:nvPr/>
        </p:nvSpPr>
        <p:spPr>
          <a:xfrm>
            <a:off x="1838871" y="3256070"/>
            <a:ext cx="14517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sz="1600" dirty="0" err="1">
                <a:latin typeface="Arial"/>
                <a:cs typeface="Arial"/>
              </a:rPr>
              <a:t>LiteCom</a:t>
            </a:r>
            <a:r>
              <a:rPr lang="en-US" sz="1600" dirty="0">
                <a:latin typeface="Arial"/>
                <a:cs typeface="Arial"/>
              </a:rPr>
              <a:t> Plus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AFB0B1AD-14E7-4B97-AEA7-4510C158C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3591" y="4515512"/>
            <a:ext cx="462273" cy="398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3">
            <a:extLst>
              <a:ext uri="{FF2B5EF4-FFF2-40B4-BE49-F238E27FC236}">
                <a16:creationId xmlns:a16="http://schemas.microsoft.com/office/drawing/2014/main" id="{0E4F51AA-3AA5-4970-BE33-C6E890158C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9366" y="3601346"/>
            <a:ext cx="462273" cy="4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Picture 6">
            <a:extLst>
              <a:ext uri="{FF2B5EF4-FFF2-40B4-BE49-F238E27FC236}">
                <a16:creationId xmlns:a16="http://schemas.microsoft.com/office/drawing/2014/main" id="{C4F88037-D982-4C91-BCCD-509A1A297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5871" y="4072894"/>
            <a:ext cx="465479" cy="396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83A4509-9822-4F4C-A935-E4C33480A1C8}"/>
              </a:ext>
            </a:extLst>
          </p:cNvPr>
          <p:cNvSpPr/>
          <p:nvPr/>
        </p:nvSpPr>
        <p:spPr>
          <a:xfrm>
            <a:off x="7158041" y="966651"/>
            <a:ext cx="45719" cy="544526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59A3BF-BD6C-4AB3-A081-D121F25D1EC8}"/>
              </a:ext>
            </a:extLst>
          </p:cNvPr>
          <p:cNvSpPr txBox="1"/>
          <p:nvPr/>
        </p:nvSpPr>
        <p:spPr>
          <a:xfrm flipH="1">
            <a:off x="7561688" y="1068781"/>
            <a:ext cx="28875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1600" dirty="0">
                <a:solidFill>
                  <a:srgbClr val="FF0000"/>
                </a:solidFill>
              </a:rPr>
              <a:t>Sold by special </a:t>
            </a:r>
            <a:r>
              <a:rPr lang="sv-SE" sz="1600" dirty="0" err="1">
                <a:solidFill>
                  <a:srgbClr val="FF0000"/>
                </a:solidFill>
              </a:rPr>
              <a:t>comms</a:t>
            </a:r>
            <a:r>
              <a:rPr lang="sv-SE" sz="1600" dirty="0">
                <a:solidFill>
                  <a:srgbClr val="FF0000"/>
                </a:solidFill>
              </a:rPr>
              <a:t> </a:t>
            </a:r>
            <a:r>
              <a:rPr lang="sv-SE" sz="1600" dirty="0" err="1">
                <a:solidFill>
                  <a:srgbClr val="FF0000"/>
                </a:solidFill>
              </a:rPr>
              <a:t>dealers</a:t>
            </a:r>
            <a:endParaRPr lang="sv-SE" sz="1600" dirty="0">
              <a:solidFill>
                <a:srgbClr val="FF0000"/>
              </a:solidFill>
            </a:endParaRPr>
          </a:p>
        </p:txBody>
      </p:sp>
      <p:pic>
        <p:nvPicPr>
          <p:cNvPr id="54" name="Bildobjekt 1" descr="signature_1368872">
            <a:extLst>
              <a:ext uri="{FF2B5EF4-FFF2-40B4-BE49-F238E27FC236}">
                <a16:creationId xmlns:a16="http://schemas.microsoft.com/office/drawing/2014/main" id="{CF0979E7-3699-4A19-9A3F-460D0827B2AC}"/>
              </a:ext>
            </a:extLst>
          </p:cNvPr>
          <p:cNvPicPr/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8AD6F3FC-A81E-4294-8B87-A8812FB8D148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56" name="Picture 9" descr="logo_EX">
            <a:extLst>
              <a:ext uri="{FF2B5EF4-FFF2-40B4-BE49-F238E27FC236}">
                <a16:creationId xmlns:a16="http://schemas.microsoft.com/office/drawing/2014/main" id="{54043E43-C8FD-4CFD-904A-F527962C1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60525" y="5623304"/>
            <a:ext cx="452695" cy="39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6" descr="A picture containing bag&#10;&#10;Description automatically generated">
            <a:extLst>
              <a:ext uri="{FF2B5EF4-FFF2-40B4-BE49-F238E27FC236}">
                <a16:creationId xmlns:a16="http://schemas.microsoft.com/office/drawing/2014/main" id="{0D0427C1-DABB-4DCA-9B8E-6CC4357C2A93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2101714" y="1520249"/>
            <a:ext cx="1094911" cy="177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4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564074-20A2-4C40-8512-2A74F6A533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774" y="496077"/>
            <a:ext cx="2574354" cy="3657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EDFDD61-0017-455A-8CBD-4F3FF26ECB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6400" y="1400174"/>
            <a:ext cx="2574509" cy="365283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2C2B95-5220-422E-831B-AE4F3B9973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43262" y="2141580"/>
            <a:ext cx="2557464" cy="35924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645BB8E-DFBA-4A70-911A-483047479FBC}"/>
              </a:ext>
            </a:extLst>
          </p:cNvPr>
          <p:cNvSpPr txBox="1"/>
          <p:nvPr/>
        </p:nvSpPr>
        <p:spPr>
          <a:xfrm>
            <a:off x="1385888" y="6115050"/>
            <a:ext cx="33577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LiteCom Family brochure update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D60407C-0541-4B06-B7D2-57CC7F356A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3353" y="555799"/>
            <a:ext cx="2381250" cy="331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5998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79413" y="1313983"/>
            <a:ext cx="9521825" cy="5169944"/>
          </a:xfrm>
        </p:spPr>
        <p:txBody>
          <a:bodyPr/>
          <a:lstStyle/>
          <a:p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br>
              <a:rPr lang="sv-SE" b="1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20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1333500"/>
            <a:ext cx="10068093" cy="4127499"/>
          </a:xfrm>
        </p:spPr>
        <p:txBody>
          <a:bodyPr/>
          <a:lstStyle/>
          <a:p>
            <a:r>
              <a:rPr lang="en-US" dirty="0"/>
              <a:t>3M</a:t>
            </a:r>
            <a:r>
              <a:rPr lang="en-GB" baseline="30000" dirty="0"/>
              <a:t>™</a:t>
            </a:r>
            <a:r>
              <a:rPr lang="en-US" dirty="0"/>
              <a:t> PELTOR</a:t>
            </a:r>
            <a:r>
              <a:rPr lang="en-GB" baseline="30000" dirty="0"/>
              <a:t>™</a:t>
            </a:r>
            <a:r>
              <a:rPr lang="en-US" dirty="0"/>
              <a:t> </a:t>
            </a:r>
            <a:r>
              <a:rPr lang="sv-SE" dirty="0" err="1"/>
              <a:t>LiteCom</a:t>
            </a:r>
            <a:r>
              <a:rPr lang="sv-SE" dirty="0"/>
              <a:t> Plu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29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57C4837-D70B-443C-860A-49A0DE8348C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374925">
            <a:off x="7471515" y="3964421"/>
            <a:ext cx="1454347" cy="12354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M</a:t>
            </a:r>
            <a:r>
              <a:rPr lang="en-GB" baseline="30000" dirty="0"/>
              <a:t>™</a:t>
            </a:r>
            <a:r>
              <a:rPr lang="en-US" dirty="0"/>
              <a:t> PELTOR</a:t>
            </a:r>
            <a:r>
              <a:rPr lang="en-GB" baseline="30000" dirty="0"/>
              <a:t>™</a:t>
            </a:r>
            <a:r>
              <a:rPr lang="en-US" dirty="0"/>
              <a:t> </a:t>
            </a:r>
            <a:r>
              <a:rPr lang="sv-SE" dirty="0" err="1"/>
              <a:t>LiteCom</a:t>
            </a:r>
            <a:r>
              <a:rPr lang="en-GB" baseline="30000" dirty="0"/>
              <a:t> </a:t>
            </a:r>
            <a:r>
              <a:rPr lang="sv-SE" dirty="0"/>
              <a:t>Plus – </a:t>
            </a:r>
            <a:r>
              <a:rPr lang="sv-SE" dirty="0" err="1"/>
              <a:t>main</a:t>
            </a:r>
            <a:r>
              <a:rPr lang="sv-SE" dirty="0"/>
              <a:t> </a:t>
            </a:r>
            <a:r>
              <a:rPr lang="sv-SE" dirty="0" err="1"/>
              <a:t>functions</a:t>
            </a:r>
            <a:endParaRPr lang="sv-SE" dirty="0">
              <a:cs typeface="3M Circular TT Book" panose="020B06040201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5188" y="1654387"/>
            <a:ext cx="9729903" cy="4593280"/>
          </a:xfrm>
        </p:spPr>
        <p:txBody>
          <a:bodyPr/>
          <a:lstStyle/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Arial"/>
              </a:rPr>
              <a:t>Two-way radio PMR 446 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Arial"/>
              </a:rPr>
              <a:t>16 channels &amp; 121 subchannels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3M Circular TT Book" panose="020B0604020101020102" pitchFamily="34" charset="0"/>
              </a:rPr>
              <a:t>Level-dependent function for ambient listening 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sv-SE" sz="2000" dirty="0"/>
              <a:t>Push-to-Listen</a:t>
            </a:r>
            <a:endParaRPr lang="en-US" sz="2000" dirty="0">
              <a:cs typeface="Arial"/>
            </a:endParaRP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3M Circular TT Book" panose="020B0604020101020102" pitchFamily="34" charset="0"/>
              </a:rPr>
              <a:t>Noise cancelling boom microphone </a:t>
            </a:r>
            <a:r>
              <a:rPr lang="sv-SE" sz="2000" dirty="0">
                <a:cs typeface="3M Circular TT Book" panose="020B0604020101020102" pitchFamily="34" charset="0"/>
              </a:rPr>
              <a:t>(IP68)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3M Circular TT Book" panose="020B0604020101020102" pitchFamily="34" charset="0"/>
              </a:rPr>
              <a:t>Voice operated transmission (VOX)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3M Circular TT Book" panose="020B0604020101020102" pitchFamily="34" charset="0"/>
              </a:rPr>
              <a:t>IP54 when use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3M Circular TT Book" panose="020B0604020101020102" pitchFamily="34" charset="0"/>
              </a:rPr>
              <a:t>Approved with gel cushion HY80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r>
              <a:rPr lang="en-US" sz="2000" dirty="0">
                <a:cs typeface="3M Circular TT Book" panose="020B0604020101020102" pitchFamily="34" charset="0"/>
              </a:rPr>
              <a:t>Possibility to connect external equipment with cable</a:t>
            </a:r>
          </a:p>
          <a:p>
            <a:pPr>
              <a:spcAft>
                <a:spcPts val="1200"/>
              </a:spcAft>
              <a:tabLst>
                <a:tab pos="3762834" algn="l"/>
                <a:tab pos="8422336" algn="l"/>
              </a:tabLst>
            </a:pPr>
            <a:endParaRPr lang="en-US" sz="2000" dirty="0">
              <a:cs typeface="3M Circular TT Book" panose="020B0604020101020102" pitchFamily="34" charset="0"/>
            </a:endParaRPr>
          </a:p>
          <a:p>
            <a:pPr marL="0" indent="0">
              <a:spcAft>
                <a:spcPts val="1200"/>
              </a:spcAft>
              <a:buNone/>
              <a:tabLst>
                <a:tab pos="3762834" algn="l"/>
                <a:tab pos="8422336" algn="l"/>
              </a:tabLst>
            </a:pPr>
            <a:br>
              <a:rPr lang="en-US" sz="1999" dirty="0"/>
            </a:br>
            <a:endParaRPr lang="en-US" sz="2399" dirty="0"/>
          </a:p>
        </p:txBody>
      </p:sp>
      <p:pic>
        <p:nvPicPr>
          <p:cNvPr id="7" name="Bildobjekt 1" descr="signature_1368872">
            <a:extLst>
              <a:ext uri="{FF2B5EF4-FFF2-40B4-BE49-F238E27FC236}">
                <a16:creationId xmlns:a16="http://schemas.microsoft.com/office/drawing/2014/main" id="{001E3F77-8BD3-4DDA-8DA3-EB1EF4E5CC04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picture containing bag&#10;&#10;Description automatically generated">
            <a:extLst>
              <a:ext uri="{FF2B5EF4-FFF2-40B4-BE49-F238E27FC236}">
                <a16:creationId xmlns:a16="http://schemas.microsoft.com/office/drawing/2014/main" id="{66B06DE6-E80E-4192-939A-CBD9723D768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9007813" y="814817"/>
            <a:ext cx="2704290" cy="43887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91FCD0E-770D-40F5-B281-30BC0B7231C3}"/>
              </a:ext>
            </a:extLst>
          </p:cNvPr>
          <p:cNvSpPr/>
          <p:nvPr/>
        </p:nvSpPr>
        <p:spPr>
          <a:xfrm>
            <a:off x="7636213" y="5515938"/>
            <a:ext cx="885217" cy="593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00947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MI – “Man Machine Interface”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39" y="1487670"/>
            <a:ext cx="8083313" cy="4594476"/>
          </a:xfrm>
        </p:spPr>
        <p:txBody>
          <a:bodyPr/>
          <a:lstStyle/>
          <a:p>
            <a:pPr>
              <a:tabLst>
                <a:tab pos="3763963" algn="l"/>
                <a:tab pos="8424863" algn="l"/>
              </a:tabLst>
            </a:pPr>
            <a:r>
              <a:rPr lang="en-US" sz="2000" dirty="0"/>
              <a:t>+ &amp; - button (right cover)</a:t>
            </a:r>
          </a:p>
          <a:p>
            <a:pPr>
              <a:tabLst>
                <a:tab pos="3763963" algn="l"/>
                <a:tab pos="8424863" algn="l"/>
              </a:tabLst>
            </a:pPr>
            <a:r>
              <a:rPr lang="en-US" sz="2000" dirty="0"/>
              <a:t>On / Off &amp; Menu Button (Right Cover)</a:t>
            </a:r>
          </a:p>
          <a:p>
            <a:pPr>
              <a:tabLst>
                <a:tab pos="3763963" algn="l"/>
                <a:tab pos="8424863" algn="l"/>
              </a:tabLst>
            </a:pPr>
            <a:r>
              <a:rPr lang="en-US" sz="2000" dirty="0"/>
              <a:t>PTT button Built-in two-way radio (Right Cover)</a:t>
            </a:r>
          </a:p>
        </p:txBody>
      </p:sp>
      <p:pic>
        <p:nvPicPr>
          <p:cNvPr id="6" name="Bildobjekt 1" descr="signature_1368872">
            <a:extLst>
              <a:ext uri="{FF2B5EF4-FFF2-40B4-BE49-F238E27FC236}">
                <a16:creationId xmlns:a16="http://schemas.microsoft.com/office/drawing/2014/main" id="{F3202490-72FC-4F71-9251-C6B0FD03BCE8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5C90CDC-E3BC-429D-B76D-631D489A3027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8" name="Picture 7" descr="A picture containing toy, cat, person, plane&#10;&#10;Description automatically generated">
            <a:extLst>
              <a:ext uri="{FF2B5EF4-FFF2-40B4-BE49-F238E27FC236}">
                <a16:creationId xmlns:a16="http://schemas.microsoft.com/office/drawing/2014/main" id="{E08D16E0-AC62-489D-8E9A-16829C6ECC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1563" y="211564"/>
            <a:ext cx="4036155" cy="403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2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3M Circular TT Bold ("/>
                <a:cs typeface="Arial" pitchFamily="34" charset="0"/>
              </a:rPr>
              <a:t>Menu system (press the On/Off button once</a:t>
            </a:r>
            <a:r>
              <a:rPr lang="sv-SE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3M Circular TT Bold ("/>
                <a:cs typeface="Arial" pitchFamily="34" charset="0"/>
              </a:rPr>
              <a:t>)</a:t>
            </a:r>
            <a:endParaRPr lang="sv-SE" dirty="0">
              <a:latin typeface="3M Circular TT Bold (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40" y="1355915"/>
            <a:ext cx="6994746" cy="4594476"/>
          </a:xfrm>
        </p:spPr>
        <p:txBody>
          <a:bodyPr/>
          <a:lstStyle/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Channel 	1-16</a:t>
            </a: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Radio volume 	off/1-6</a:t>
            </a: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Ambient listening	off/1-6</a:t>
            </a:r>
          </a:p>
          <a:p>
            <a:pPr marL="0" indent="0">
              <a:spcAft>
                <a:spcPts val="600"/>
              </a:spcAft>
              <a:buNone/>
              <a:tabLst>
                <a:tab pos="3763963" algn="l"/>
                <a:tab pos="8424863" algn="l"/>
              </a:tabLst>
            </a:pPr>
            <a:endParaRPr lang="en-US" sz="1000" kern="0" dirty="0">
              <a:solidFill>
                <a:sysClr val="windowText" lastClr="000000">
                  <a:lumMod val="85000"/>
                  <a:lumOff val="15000"/>
                </a:sysClr>
              </a:solidFill>
              <a:cs typeface="Arial" pitchFamily="34" charset="0"/>
            </a:endParaRPr>
          </a:p>
          <a:p>
            <a:pPr marL="0" indent="0">
              <a:spcAft>
                <a:spcPts val="600"/>
              </a:spcAft>
              <a:buNone/>
              <a:tabLst>
                <a:tab pos="3763963" algn="l"/>
                <a:tab pos="8424863" algn="l"/>
              </a:tabLst>
            </a:pPr>
            <a:endParaRPr lang="en-US" sz="2400" dirty="0"/>
          </a:p>
        </p:txBody>
      </p:sp>
      <p:pic>
        <p:nvPicPr>
          <p:cNvPr id="6" name="Bildobjekt 1" descr="signature_1368872">
            <a:extLst>
              <a:ext uri="{FF2B5EF4-FFF2-40B4-BE49-F238E27FC236}">
                <a16:creationId xmlns:a16="http://schemas.microsoft.com/office/drawing/2014/main" id="{0182871D-4D11-4E76-B5AB-381D4A18F91F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47F2771-7E0D-44B0-94FD-FCABDF0D16C8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9" name="Picture 8" descr="A picture containing bag&#10;&#10;Description automatically generated">
            <a:extLst>
              <a:ext uri="{FF2B5EF4-FFF2-40B4-BE49-F238E27FC236}">
                <a16:creationId xmlns:a16="http://schemas.microsoft.com/office/drawing/2014/main" id="{6EB2F9CB-4278-4459-9A2D-BA4B9DCEBA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8997152" y="221429"/>
            <a:ext cx="2704290" cy="438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3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79413"/>
            <a:ext cx="10778810" cy="822960"/>
          </a:xfrm>
        </p:spPr>
        <p:txBody>
          <a:bodyPr/>
          <a:lstStyle/>
          <a:p>
            <a:r>
              <a:rPr lang="en-US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3M Circular TT Bold ("/>
                <a:cs typeface="Arial" pitchFamily="34" charset="0"/>
              </a:rPr>
              <a:t>Sub Menu, </a:t>
            </a:r>
            <a:r>
              <a:rPr lang="en-US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press (+) and (-)</a:t>
            </a:r>
            <a:br>
              <a:rPr lang="en-US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highlight>
                  <a:srgbClr val="FF0000"/>
                </a:highlight>
                <a:cs typeface="Arial" pitchFamily="34" charset="0"/>
              </a:rPr>
            </a:br>
            <a:endParaRPr lang="sv-SE" dirty="0">
              <a:highlight>
                <a:srgbClr val="FF0000"/>
              </a:highlight>
              <a:latin typeface="3M Circular TT Bold (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40" y="1131762"/>
            <a:ext cx="10778811" cy="4594476"/>
          </a:xfrm>
        </p:spPr>
        <p:txBody>
          <a:bodyPr/>
          <a:lstStyle/>
          <a:p>
            <a:pPr marL="0" indent="0">
              <a:spcAft>
                <a:spcPts val="0"/>
              </a:spcAft>
              <a:buNone/>
              <a:tabLst>
                <a:tab pos="3763963" algn="l"/>
                <a:tab pos="8424863" algn="l"/>
              </a:tabLst>
            </a:pPr>
            <a:endParaRPr lang="en-US" sz="1000" kern="0" dirty="0">
              <a:solidFill>
                <a:sysClr val="windowText" lastClr="000000">
                  <a:lumMod val="85000"/>
                  <a:lumOff val="15000"/>
                </a:sysClr>
              </a:solidFill>
              <a:cs typeface="Arial" pitchFamily="34" charset="0"/>
            </a:endParaRP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Vox	Low, medium &amp; high</a:t>
            </a: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Sub channel	Off or any sub channel</a:t>
            </a: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Squelch	Low, medium &amp; high</a:t>
            </a: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Output power (PMR)	Low &amp; high (</a:t>
            </a:r>
            <a:r>
              <a:rPr lang="nl-NL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25</a:t>
            </a:r>
            <a:r>
              <a:rPr lang="nl-NL" sz="2000" dirty="0"/>
              <a:t>/150 mW)</a:t>
            </a:r>
            <a:endParaRPr lang="en-US" sz="2000" kern="0" dirty="0">
              <a:solidFill>
                <a:sysClr val="windowText" lastClr="000000">
                  <a:lumMod val="85000"/>
                  <a:lumOff val="15000"/>
                </a:sysClr>
              </a:solidFill>
              <a:cs typeface="Arial" pitchFamily="34" charset="0"/>
            </a:endParaRP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Language	English, German, French &amp; </a:t>
            </a:r>
            <a:r>
              <a:rPr lang="en-US" sz="2000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Espanol</a:t>
            </a:r>
            <a:endParaRPr lang="en-US" sz="2000" kern="0" dirty="0">
              <a:solidFill>
                <a:sysClr val="windowText" lastClr="000000">
                  <a:lumMod val="85000"/>
                  <a:lumOff val="15000"/>
                </a:sysClr>
              </a:solidFill>
              <a:cs typeface="Arial" pitchFamily="34" charset="0"/>
            </a:endParaRP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endParaRPr lang="en-US" sz="2000" kern="0" dirty="0">
              <a:solidFill>
                <a:sysClr val="windowText" lastClr="000000">
                  <a:lumMod val="85000"/>
                  <a:lumOff val="15000"/>
                </a:sysClr>
              </a:solidFill>
              <a:cs typeface="Arial" pitchFamily="34" charset="0"/>
            </a:endParaRPr>
          </a:p>
          <a:p>
            <a:pPr>
              <a:spcAft>
                <a:spcPts val="6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Reset	Go to Setup Menu (see users guide)</a:t>
            </a: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 Narrow" pitchFamily="34" charset="0"/>
                <a:cs typeface="Arial" pitchFamily="34" charset="0"/>
              </a:rPr>
              <a:t>	</a:t>
            </a:r>
          </a:p>
          <a:p>
            <a:pPr marL="0" indent="0">
              <a:spcAft>
                <a:spcPts val="600"/>
              </a:spcAft>
              <a:buNone/>
              <a:tabLst>
                <a:tab pos="3763963" algn="l"/>
                <a:tab pos="8424863" algn="l"/>
              </a:tabLst>
            </a:pPr>
            <a:endParaRPr lang="en-US" sz="2000" kern="0" dirty="0">
              <a:solidFill>
                <a:sysClr val="windowText" lastClr="000000">
                  <a:lumMod val="85000"/>
                  <a:lumOff val="15000"/>
                </a:sysClr>
              </a:solidFill>
              <a:latin typeface="Arial Narrow" pitchFamily="34" charset="0"/>
              <a:cs typeface="Arial" pitchFamily="34" charset="0"/>
            </a:endParaRPr>
          </a:p>
          <a:p>
            <a:pPr marL="0" indent="0">
              <a:spcAft>
                <a:spcPts val="600"/>
              </a:spcAft>
              <a:buNone/>
              <a:tabLst>
                <a:tab pos="3763963" algn="l"/>
                <a:tab pos="8424863" algn="l"/>
              </a:tabLst>
            </a:pPr>
            <a:br>
              <a:rPr lang="en-US" sz="2000" dirty="0"/>
            </a:br>
            <a:r>
              <a:rPr lang="en-US" sz="2000" dirty="0"/>
              <a:t> </a:t>
            </a:r>
            <a:endParaRPr lang="en-US" sz="2400" dirty="0"/>
          </a:p>
        </p:txBody>
      </p:sp>
      <p:pic>
        <p:nvPicPr>
          <p:cNvPr id="7" name="Bildobjekt 1" descr="signature_1368872">
            <a:extLst>
              <a:ext uri="{FF2B5EF4-FFF2-40B4-BE49-F238E27FC236}">
                <a16:creationId xmlns:a16="http://schemas.microsoft.com/office/drawing/2014/main" id="{F53B98EA-675C-4EF4-AE35-1604C526EBA5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D77CF24-4DE3-4AD0-9BDD-745C3775E15A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9" name="Picture 8" descr="A picture containing toy, cat, person, plane&#10;&#10;Description automatically generated">
            <a:extLst>
              <a:ext uri="{FF2B5EF4-FFF2-40B4-BE49-F238E27FC236}">
                <a16:creationId xmlns:a16="http://schemas.microsoft.com/office/drawing/2014/main" id="{D2DCC932-281C-4B02-9330-33D2B1FDB04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5450" y="211565"/>
            <a:ext cx="2772268" cy="2772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7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M</a:t>
            </a:r>
            <a:r>
              <a:rPr lang="en-GB" baseline="30000" dirty="0"/>
              <a:t>™</a:t>
            </a:r>
            <a:r>
              <a:rPr lang="en-US" dirty="0"/>
              <a:t> PELTOR</a:t>
            </a:r>
            <a:r>
              <a:rPr lang="en-GB" baseline="30000" dirty="0"/>
              <a:t>™</a:t>
            </a:r>
            <a:r>
              <a:rPr lang="en-US" dirty="0"/>
              <a:t> </a:t>
            </a:r>
            <a:r>
              <a:rPr lang="sv-SE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ACK081 - Litium-ion batter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40" y="1425325"/>
            <a:ext cx="7398887" cy="4594476"/>
          </a:xfrm>
        </p:spPr>
        <p:txBody>
          <a:bodyPr/>
          <a:lstStyle/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Rechargeable Lithium-ion Battery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Battery life: about 16 hours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3.7V / 1800 </a:t>
            </a:r>
            <a:r>
              <a:rPr lang="en-US" sz="2000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mAh</a:t>
            </a: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 / 6.7Wh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Charged with charging cable AL2AI connected to FR08 power supply</a:t>
            </a:r>
            <a:endParaRPr lang="en-US" sz="400" kern="0" dirty="0">
              <a:solidFill>
                <a:sysClr val="windowText" lastClr="000000">
                  <a:lumMod val="85000"/>
                  <a:lumOff val="15000"/>
                </a:sysClr>
              </a:solidFill>
              <a:cs typeface="Arial" pitchFamily="34" charset="0"/>
            </a:endParaRP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18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C</a:t>
            </a: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harging time with FR08 about 4 hours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LED light on the battery will turn green when the battery is fully charged</a:t>
            </a:r>
          </a:p>
          <a:p>
            <a:pPr>
              <a:spcAft>
                <a:spcPts val="1200"/>
              </a:spcAft>
              <a:tabLst>
                <a:tab pos="3763963" algn="l"/>
                <a:tab pos="8424863" algn="l"/>
              </a:tabLst>
            </a:pPr>
            <a:r>
              <a:rPr lang="en-US" sz="20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Low battery level is indicated by a voice: "Low battery"</a:t>
            </a:r>
            <a:br>
              <a:rPr lang="en-US" sz="2000" dirty="0"/>
            </a:br>
            <a:endParaRPr lang="en-US" sz="2400" dirty="0"/>
          </a:p>
        </p:txBody>
      </p:sp>
      <p:pic>
        <p:nvPicPr>
          <p:cNvPr id="4" name="Picture 3" descr="ACK081_B.jpg">
            <a:extLst>
              <a:ext uri="{FF2B5EF4-FFF2-40B4-BE49-F238E27FC236}">
                <a16:creationId xmlns:a16="http://schemas.microsoft.com/office/drawing/2014/main" id="{80EDB449-374D-4567-BB12-E622489683A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1625" y="1327168"/>
            <a:ext cx="3123093" cy="3002074"/>
          </a:xfrm>
          <a:prstGeom prst="rect">
            <a:avLst/>
          </a:prstGeom>
        </p:spPr>
      </p:pic>
      <p:pic>
        <p:nvPicPr>
          <p:cNvPr id="5" name="Picture 2" descr="M:\MARKNAD\Lanseringar\Lanseringar_2013\LiteCom_P1280_ChHe\Images_LiteCom_2013\Images_Batteries_Chargers\AL2AI.jpg">
            <a:extLst>
              <a:ext uri="{FF2B5EF4-FFF2-40B4-BE49-F238E27FC236}">
                <a16:creationId xmlns:a16="http://schemas.microsoft.com/office/drawing/2014/main" id="{59F3B3A2-2011-4279-8F5B-544E49E9BD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073"/>
          <a:stretch>
            <a:fillRect/>
          </a:stretch>
        </p:blipFill>
        <p:spPr bwMode="auto">
          <a:xfrm>
            <a:off x="10000940" y="1264359"/>
            <a:ext cx="1642067" cy="1315122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45A8317-8A62-4C51-A802-140041297615}"/>
              </a:ext>
            </a:extLst>
          </p:cNvPr>
          <p:cNvSpPr/>
          <p:nvPr/>
        </p:nvSpPr>
        <p:spPr>
          <a:xfrm>
            <a:off x="9866066" y="2497531"/>
            <a:ext cx="21197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200" b="1" dirty="0">
                <a:solidFill>
                  <a:srgbClr val="000000"/>
                </a:solidFill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Charging cable </a:t>
            </a:r>
            <a:br>
              <a:rPr lang="sv-SE" sz="1200" b="1" dirty="0">
                <a:solidFill>
                  <a:srgbClr val="000000"/>
                </a:solidFill>
                <a:latin typeface="Arial Narrow" pitchFamily="34" charset="0"/>
                <a:ea typeface="Times New Roman" pitchFamily="18" charset="0"/>
                <a:cs typeface="Times New Roman" pitchFamily="18" charset="0"/>
              </a:rPr>
            </a:br>
            <a:r>
              <a:rPr lang="sv-SE" sz="1200" b="1" dirty="0">
                <a:solidFill>
                  <a:srgbClr val="000000"/>
                </a:solidFill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3M Peltor AL2AI</a:t>
            </a:r>
          </a:p>
        </p:txBody>
      </p:sp>
      <p:pic>
        <p:nvPicPr>
          <p:cNvPr id="7" name="Picture 1" descr="M:\MARKNAD\Lanseringar\Lanseringar_2013\LiteCom_P1280_ChHe\Images_LiteCom_2013\Images_Batteries_Chargers\FR08.jpg">
            <a:extLst>
              <a:ext uri="{FF2B5EF4-FFF2-40B4-BE49-F238E27FC236}">
                <a16:creationId xmlns:a16="http://schemas.microsoft.com/office/drawing/2014/main" id="{E1E57984-9897-4DC6-A70F-FE7DCC443C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062"/>
          <a:stretch>
            <a:fillRect/>
          </a:stretch>
        </p:blipFill>
        <p:spPr bwMode="auto">
          <a:xfrm>
            <a:off x="10000940" y="3722563"/>
            <a:ext cx="1849997" cy="1031337"/>
          </a:xfrm>
          <a:prstGeom prst="rect">
            <a:avLst/>
          </a:prstGeom>
          <a:noFill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C90BAA3-0212-4E1E-ACF6-8C94976A0408}"/>
              </a:ext>
            </a:extLst>
          </p:cNvPr>
          <p:cNvSpPr/>
          <p:nvPr/>
        </p:nvSpPr>
        <p:spPr>
          <a:xfrm>
            <a:off x="9741376" y="4585028"/>
            <a:ext cx="22444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200" b="1" dirty="0">
                <a:solidFill>
                  <a:srgbClr val="000000"/>
                </a:solidFill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Power supply with USB</a:t>
            </a:r>
            <a:br>
              <a:rPr lang="sv-SE" sz="1200" b="1" dirty="0">
                <a:solidFill>
                  <a:srgbClr val="000000"/>
                </a:solidFill>
                <a:latin typeface="Arial Narrow" pitchFamily="34" charset="0"/>
                <a:ea typeface="Times New Roman" pitchFamily="18" charset="0"/>
                <a:cs typeface="Times New Roman" pitchFamily="18" charset="0"/>
              </a:rPr>
            </a:br>
            <a:r>
              <a:rPr lang="sv-SE" sz="1200" b="1" dirty="0">
                <a:solidFill>
                  <a:srgbClr val="000000"/>
                </a:solidFill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3M Peltor FR08</a:t>
            </a:r>
          </a:p>
        </p:txBody>
      </p:sp>
      <p:pic>
        <p:nvPicPr>
          <p:cNvPr id="10" name="Bildobjekt 1" descr="signature_1368872">
            <a:extLst>
              <a:ext uri="{FF2B5EF4-FFF2-40B4-BE49-F238E27FC236}">
                <a16:creationId xmlns:a16="http://schemas.microsoft.com/office/drawing/2014/main" id="{8B459010-C7A6-4989-B0AF-9CEAE91AC439}"/>
              </a:ext>
            </a:extLst>
          </p:cNvPr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7780" y="6449447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04BED41-FC09-4B96-B655-9E0605842F9C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146518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706323-9DC7-459A-A78C-DF2173F465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640" y="1278899"/>
            <a:ext cx="11739292" cy="4796080"/>
          </a:xfrm>
          <a:prstGeom prst="rect">
            <a:avLst/>
          </a:prstGeom>
        </p:spPr>
      </p:pic>
      <p:pic>
        <p:nvPicPr>
          <p:cNvPr id="8" name="Picture 7" descr="A picture containing bag&#10;&#10;Description automatically generated">
            <a:extLst>
              <a:ext uri="{FF2B5EF4-FFF2-40B4-BE49-F238E27FC236}">
                <a16:creationId xmlns:a16="http://schemas.microsoft.com/office/drawing/2014/main" id="{679CF660-138B-4DA3-8394-95EC0C84ED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10794123" y="72883"/>
            <a:ext cx="1033861" cy="167785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793" y="350557"/>
            <a:ext cx="10356382" cy="822960"/>
          </a:xfrm>
        </p:spPr>
        <p:txBody>
          <a:bodyPr/>
          <a:lstStyle/>
          <a:p>
            <a:r>
              <a:rPr lang="sv-SE" b="1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Models</a:t>
            </a:r>
            <a:r>
              <a:rPr lang="sv-SE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 and </a:t>
            </a:r>
            <a:r>
              <a:rPr lang="sv-SE" b="1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Accessori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37" y="1653925"/>
            <a:ext cx="9732437" cy="4594476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  <a:tabLst>
                <a:tab pos="3763963" algn="l"/>
                <a:tab pos="8424863" algn="l"/>
              </a:tabLst>
            </a:pPr>
            <a:br>
              <a:rPr lang="en-US" sz="2000" dirty="0"/>
            </a:br>
            <a:endParaRPr lang="en-US" sz="2400" dirty="0"/>
          </a:p>
        </p:txBody>
      </p:sp>
      <p:pic>
        <p:nvPicPr>
          <p:cNvPr id="7" name="Bildobjekt 1" descr="signature_1368872">
            <a:extLst>
              <a:ext uri="{FF2B5EF4-FFF2-40B4-BE49-F238E27FC236}">
                <a16:creationId xmlns:a16="http://schemas.microsoft.com/office/drawing/2014/main" id="{178E7C8C-0AC6-4EF7-AD58-59D81604B38B}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1048" y="6449404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A0274D-6EF9-43DC-B63E-19FF3E51BDB5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6" name="Picture 5" descr="A picture containing toy, cat, person, plane&#10;&#10;Description automatically generated">
            <a:extLst>
              <a:ext uri="{FF2B5EF4-FFF2-40B4-BE49-F238E27FC236}">
                <a16:creationId xmlns:a16="http://schemas.microsoft.com/office/drawing/2014/main" id="{477645E0-3617-4437-A2AC-368AC620639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1684" y="55785"/>
            <a:ext cx="1677854" cy="1677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2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016" y="314103"/>
            <a:ext cx="10356382" cy="822960"/>
          </a:xfrm>
        </p:spPr>
        <p:txBody>
          <a:bodyPr/>
          <a:lstStyle/>
          <a:p>
            <a:r>
              <a:rPr lang="en-US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cs typeface="Arial" pitchFamily="34" charset="0"/>
              </a:rPr>
              <a:t>Attenu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913837" y="1653925"/>
            <a:ext cx="9732437" cy="4594476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  <a:tabLst>
                <a:tab pos="3763963" algn="l"/>
                <a:tab pos="8424863" algn="l"/>
              </a:tabLst>
            </a:pPr>
            <a:br>
              <a:rPr lang="en-US" sz="2000" dirty="0"/>
            </a:br>
            <a:endParaRPr lang="en-US" sz="2400" dirty="0"/>
          </a:p>
        </p:txBody>
      </p:sp>
      <p:pic>
        <p:nvPicPr>
          <p:cNvPr id="7" name="Bildobjekt 1" descr="signature_1368872">
            <a:extLst>
              <a:ext uri="{FF2B5EF4-FFF2-40B4-BE49-F238E27FC236}">
                <a16:creationId xmlns:a16="http://schemas.microsoft.com/office/drawing/2014/main" id="{178E7C8C-0AC6-4EF7-AD58-59D81604B38B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1048" y="6449404"/>
            <a:ext cx="1516440" cy="3133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A0274D-6EF9-43DC-B63E-19FF3E51BDB5}"/>
              </a:ext>
            </a:extLst>
          </p:cNvPr>
          <p:cNvSpPr/>
          <p:nvPr/>
        </p:nvSpPr>
        <p:spPr>
          <a:xfrm>
            <a:off x="68094" y="6459166"/>
            <a:ext cx="2928025" cy="398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sv-SE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92DC36-5D6C-4621-857F-26EE0ADBD9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016" y="1347828"/>
            <a:ext cx="5524500" cy="3962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3DC1B1-00E2-4F9C-854E-EB3F569082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7729" y="1712406"/>
            <a:ext cx="5514975" cy="3676650"/>
          </a:xfrm>
          <a:prstGeom prst="rect">
            <a:avLst/>
          </a:prstGeom>
        </p:spPr>
      </p:pic>
      <p:pic>
        <p:nvPicPr>
          <p:cNvPr id="11" name="Picture 10" descr="A picture containing bag&#10;&#10;Description automatically generated">
            <a:extLst>
              <a:ext uri="{FF2B5EF4-FFF2-40B4-BE49-F238E27FC236}">
                <a16:creationId xmlns:a16="http://schemas.microsoft.com/office/drawing/2014/main" id="{0F9EDB4C-89CA-4084-AB27-E73446D23CE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7" r="18172"/>
          <a:stretch/>
        </p:blipFill>
        <p:spPr>
          <a:xfrm>
            <a:off x="10794123" y="72883"/>
            <a:ext cx="1033861" cy="1677854"/>
          </a:xfrm>
          <a:prstGeom prst="rect">
            <a:avLst/>
          </a:prstGeom>
        </p:spPr>
      </p:pic>
      <p:pic>
        <p:nvPicPr>
          <p:cNvPr id="10" name="Picture 9" descr="A picture containing toy, cat, person, plane&#10;&#10;Description automatically generated">
            <a:extLst>
              <a:ext uri="{FF2B5EF4-FFF2-40B4-BE49-F238E27FC236}">
                <a16:creationId xmlns:a16="http://schemas.microsoft.com/office/drawing/2014/main" id="{F4435742-A2F2-40CB-AA5D-5CDA234CD94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1684" y="55785"/>
            <a:ext cx="1677854" cy="1677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48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2.xml><?xml version="1.0" encoding="utf-8"?>
<a:theme xmlns:a="http://schemas.openxmlformats.org/drawingml/2006/main" name="1_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3.xml><?xml version="1.0" encoding="utf-8"?>
<a:theme xmlns:a="http://schemas.openxmlformats.org/drawingml/2006/main" name="3M_2013_PPT_Template_1.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M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+mn-lt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mtClean="0">
            <a:latin typeface="+mn-lt"/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C4CB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AAB2D6"/>
        </a:accent5>
        <a:accent6>
          <a:srgbClr val="A22100"/>
        </a:accent6>
        <a:hlink>
          <a:srgbClr val="4C198C"/>
        </a:hlink>
        <a:folHlink>
          <a:srgbClr val="4C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A221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8A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8B1"/>
        </a:accent1>
        <a:accent2>
          <a:srgbClr val="7C9DCC"/>
        </a:accent2>
        <a:accent3>
          <a:srgbClr val="FFFFFF"/>
        </a:accent3>
        <a:accent4>
          <a:srgbClr val="000000"/>
        </a:accent4>
        <a:accent5>
          <a:srgbClr val="AAB9D5"/>
        </a:accent5>
        <a:accent6>
          <a:srgbClr val="708EB9"/>
        </a:accent6>
        <a:hlink>
          <a:srgbClr val="FF9933"/>
        </a:hlink>
        <a:folHlink>
          <a:srgbClr val="EEF3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6_150209_3M_PPTTemplate_v7">
  <a:themeElements>
    <a:clrScheme name="3M colourway BLUE THEME">
      <a:dk1>
        <a:srgbClr val="000000"/>
      </a:dk1>
      <a:lt1>
        <a:sysClr val="window" lastClr="FFFFFF"/>
      </a:lt1>
      <a:dk2>
        <a:srgbClr val="000000"/>
      </a:dk2>
      <a:lt2>
        <a:srgbClr val="00C7E6"/>
      </a:lt2>
      <a:accent1>
        <a:srgbClr val="003DE6"/>
      </a:accent1>
      <a:accent2>
        <a:srgbClr val="1F1F96"/>
      </a:accent2>
      <a:accent3>
        <a:srgbClr val="8229B5"/>
      </a:accent3>
      <a:accent4>
        <a:srgbClr val="8C006E"/>
      </a:accent4>
      <a:accent5>
        <a:srgbClr val="D60093"/>
      </a:accent5>
      <a:accent6>
        <a:srgbClr val="9D90A0"/>
      </a:accent6>
      <a:hlink>
        <a:srgbClr val="FF0000"/>
      </a:hlink>
      <a:folHlink>
        <a:srgbClr val="9D90A0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76C96213-D747-4720-83D2-A9C4E37202CD}" vid="{02F324C2-696B-4914-8A1C-02B3EC5D0EAF}"/>
    </a:ext>
  </a:extLst>
</a:theme>
</file>

<file path=ppt/theme/theme5.xml><?xml version="1.0" encoding="utf-8"?>
<a:theme xmlns:a="http://schemas.openxmlformats.org/drawingml/2006/main" name="2_150209_3M_PPTTemplate_v7">
  <a:themeElements>
    <a:clrScheme name="TRIFECTA 06 LtBlue_Blue_DkBlue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003CE6"/>
      </a:accent2>
      <a:accent3>
        <a:srgbClr val="1E1E96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76C96213-D747-4720-83D2-A9C4E37202CD}" vid="{02F324C2-696B-4914-8A1C-02B3EC5D0EAF}"/>
    </a:ext>
  </a:extLst>
</a:theme>
</file>

<file path=ppt/theme/theme6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E2647B75461545A6E72F9896E09C25" ma:contentTypeVersion="13" ma:contentTypeDescription="Create a new document." ma:contentTypeScope="" ma:versionID="ac5f0a47191f8e1d711c5f723d3949e7">
  <xsd:schema xmlns:xsd="http://www.w3.org/2001/XMLSchema" xmlns:xs="http://www.w3.org/2001/XMLSchema" xmlns:p="http://schemas.microsoft.com/office/2006/metadata/properties" xmlns:ns3="02e225af-7760-4746-9ade-c2c2b75c8805" xmlns:ns4="9a4c1f2d-99e1-4f9d-a727-ffd0affde9ea" targetNamespace="http://schemas.microsoft.com/office/2006/metadata/properties" ma:root="true" ma:fieldsID="b5a5e55e48f0ee61466809508ebfc5a0" ns3:_="" ns4:_="">
    <xsd:import namespace="02e225af-7760-4746-9ade-c2c2b75c8805"/>
    <xsd:import namespace="9a4c1f2d-99e1-4f9d-a727-ffd0affde9e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e225af-7760-4746-9ade-c2c2b75c880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4c1f2d-99e1-4f9d-a727-ffd0affde9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836663-5F1D-4B3F-9853-DDE1D83EFC7E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a4c1f2d-99e1-4f9d-a727-ffd0affde9ea"/>
    <ds:schemaRef ds:uri="http://purl.org/dc/elements/1.1/"/>
    <ds:schemaRef ds:uri="http://schemas.microsoft.com/office/2006/metadata/properties"/>
    <ds:schemaRef ds:uri="02e225af-7760-4746-9ade-c2c2b75c8805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4362C7B-D56F-43BF-8DF3-4432FA694C7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5EC36A-9444-4659-ADA0-DC3CE0C4C0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e225af-7760-4746-9ade-c2c2b75c8805"/>
    <ds:schemaRef ds:uri="9a4c1f2d-99e1-4f9d-a727-ffd0affde9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3M_PPT_Presentation_020915</Template>
  <TotalTime>0</TotalTime>
  <Words>463</Words>
  <Application>Microsoft Office PowerPoint</Application>
  <PresentationFormat>Widescreen</PresentationFormat>
  <Paragraphs>94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3M Circular TT Bold</vt:lpstr>
      <vt:lpstr>3M Circular TT Bold (</vt:lpstr>
      <vt:lpstr>3M Circular TT Book</vt:lpstr>
      <vt:lpstr>Arial</vt:lpstr>
      <vt:lpstr>Arial Black</vt:lpstr>
      <vt:lpstr>Arial Narrow</vt:lpstr>
      <vt:lpstr>Wingdings</vt:lpstr>
      <vt:lpstr>150209_3M_PPTTemplate_v7</vt:lpstr>
      <vt:lpstr>1_150209_3M_PPTTemplate_v7</vt:lpstr>
      <vt:lpstr>3M_2013_PPT_Template_1.3</vt:lpstr>
      <vt:lpstr>16_150209_3M_PPTTemplate_v7</vt:lpstr>
      <vt:lpstr>2_150209_3M_PPTTemplate_v7</vt:lpstr>
      <vt:lpstr>think-cell Slide</vt:lpstr>
      <vt:lpstr>NPI´s  3M™ PELTOR™ New LiteCom Plus  </vt:lpstr>
      <vt:lpstr>3M™ PELTOR™ LiteCom Plus</vt:lpstr>
      <vt:lpstr>3M™ PELTOR™ LiteCom Plus – main functions</vt:lpstr>
      <vt:lpstr>MMI – “Man Machine Interface”</vt:lpstr>
      <vt:lpstr>Menu system (press the On/Off button once)</vt:lpstr>
      <vt:lpstr>Sub Menu, press (+) and (-) </vt:lpstr>
      <vt:lpstr>3M™ PELTOR™ ACK081 - Litium-ion battery</vt:lpstr>
      <vt:lpstr>Models and Accessories</vt:lpstr>
      <vt:lpstr>Attenuation</vt:lpstr>
      <vt:lpstr>In the box</vt:lpstr>
      <vt:lpstr>News compare to old 3M™ PELTOR™ LiteCom Plus</vt:lpstr>
      <vt:lpstr>Compatibility </vt:lpstr>
      <vt:lpstr>3M™ PELTOR™ LiteCom Product Family </vt:lpstr>
      <vt:lpstr>PowerPoint Presentation</vt:lpstr>
      <vt:lpstr>Thank you!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5 Trifecta 1.0</dc:title>
  <dc:creator/>
  <dc:description>brand.3M.com</dc:description>
  <cp:lastModifiedBy/>
  <cp:revision>1</cp:revision>
  <dcterms:created xsi:type="dcterms:W3CDTF">2015-02-10T20:12:44Z</dcterms:created>
  <dcterms:modified xsi:type="dcterms:W3CDTF">2020-11-06T10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958178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C5E2647B75461545A6E72F9896E09C25</vt:lpwstr>
  </property>
</Properties>
</file>